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9"/>
  </p:notesMasterIdLst>
  <p:handoutMasterIdLst>
    <p:handoutMasterId r:id="rId10"/>
  </p:handoutMasterIdLst>
  <p:sldIdLst>
    <p:sldId id="264" r:id="rId2"/>
    <p:sldId id="337" r:id="rId3"/>
    <p:sldId id="258" r:id="rId4"/>
    <p:sldId id="273" r:id="rId5"/>
    <p:sldId id="338" r:id="rId6"/>
    <p:sldId id="339" r:id="rId7"/>
    <p:sldId id="340"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11111"/>
    <a:srgbClr val="FF3300"/>
    <a:srgbClr val="37B3AD"/>
    <a:srgbClr val="3FA2CF"/>
    <a:srgbClr val="81D9D5"/>
    <a:srgbClr val="DD3B52"/>
    <a:srgbClr val="004A82"/>
    <a:srgbClr val="2C89B2"/>
    <a:srgbClr val="E77384"/>
    <a:srgbClr val="5FB2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798" autoAdjust="0"/>
    <p:restoredTop sz="93039" autoAdjust="0"/>
  </p:normalViewPr>
  <p:slideViewPr>
    <p:cSldViewPr snapToGrid="0">
      <p:cViewPr varScale="1">
        <p:scale>
          <a:sx n="107" d="100"/>
          <a:sy n="107" d="100"/>
        </p:scale>
        <p:origin x="840" y="168"/>
      </p:cViewPr>
      <p:guideLst>
        <p:guide orient="horz" pos="2160"/>
        <p:guide pos="3840"/>
      </p:guideLst>
    </p:cSldViewPr>
  </p:slideViewPr>
  <p:notesTextViewPr>
    <p:cViewPr>
      <p:scale>
        <a:sx n="200" d="100"/>
        <a:sy n="200" d="100"/>
      </p:scale>
      <p:origin x="0" y="0"/>
    </p:cViewPr>
  </p:notesTextViewPr>
  <p:notesViewPr>
    <p:cSldViewPr snapToGrid="0">
      <p:cViewPr varScale="1">
        <p:scale>
          <a:sx n="65" d="100"/>
          <a:sy n="65" d="100"/>
        </p:scale>
        <p:origin x="2208"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117DA96-57A7-4017-99EB-A62409E108C8}" type="datetimeFigureOut">
              <a:rPr lang="en-US" smtClean="0"/>
              <a:t>1/25/19</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9484FB4-214B-4EA2-AE03-C7BAF97B9D7E}" type="slidenum">
              <a:rPr lang="en-US" smtClean="0"/>
              <a:t>‹#›</a:t>
            </a:fld>
            <a:endParaRPr lang="en-US" dirty="0"/>
          </a:p>
        </p:txBody>
      </p:sp>
    </p:spTree>
    <p:extLst>
      <p:ext uri="{BB962C8B-B14F-4D97-AF65-F5344CB8AC3E}">
        <p14:creationId xmlns:p14="http://schemas.microsoft.com/office/powerpoint/2010/main" val="38448063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F42D2E-EDE4-43BF-8E59-4753749E27E6}" type="datetimeFigureOut">
              <a:rPr lang="en-US" smtClean="0"/>
              <a:t>1/25/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F12027-F336-42FB-886E-8F343D18B07E}" type="slidenum">
              <a:rPr lang="en-US" smtClean="0"/>
              <a:t>‹#›</a:t>
            </a:fld>
            <a:endParaRPr lang="en-US" dirty="0"/>
          </a:p>
        </p:txBody>
      </p:sp>
    </p:spTree>
    <p:extLst>
      <p:ext uri="{BB962C8B-B14F-4D97-AF65-F5344CB8AC3E}">
        <p14:creationId xmlns:p14="http://schemas.microsoft.com/office/powerpoint/2010/main" val="6664416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F12027-F336-42FB-886E-8F343D18B07E}" type="slidenum">
              <a:rPr lang="en-US" smtClean="0"/>
              <a:t>2</a:t>
            </a:fld>
            <a:endParaRPr lang="en-US" dirty="0"/>
          </a:p>
        </p:txBody>
      </p:sp>
    </p:spTree>
    <p:extLst>
      <p:ext uri="{BB962C8B-B14F-4D97-AF65-F5344CB8AC3E}">
        <p14:creationId xmlns:p14="http://schemas.microsoft.com/office/powerpoint/2010/main" val="1843364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F12027-F336-42FB-886E-8F343D18B07E}" type="slidenum">
              <a:rPr lang="en-US" smtClean="0"/>
              <a:t>3</a:t>
            </a:fld>
            <a:endParaRPr lang="en-US" dirty="0"/>
          </a:p>
        </p:txBody>
      </p:sp>
    </p:spTree>
    <p:extLst>
      <p:ext uri="{BB962C8B-B14F-4D97-AF65-F5344CB8AC3E}">
        <p14:creationId xmlns:p14="http://schemas.microsoft.com/office/powerpoint/2010/main" val="3441255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F12027-F336-42FB-886E-8F343D18B07E}" type="slidenum">
              <a:rPr lang="en-US" smtClean="0"/>
              <a:t>4</a:t>
            </a:fld>
            <a:endParaRPr lang="en-US" dirty="0"/>
          </a:p>
        </p:txBody>
      </p:sp>
    </p:spTree>
    <p:extLst>
      <p:ext uri="{BB962C8B-B14F-4D97-AF65-F5344CB8AC3E}">
        <p14:creationId xmlns:p14="http://schemas.microsoft.com/office/powerpoint/2010/main" val="42293374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2769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9" name="Picture Placeholder 2"/>
          <p:cNvSpPr>
            <a:spLocks noGrp="1"/>
          </p:cNvSpPr>
          <p:nvPr>
            <p:ph type="pic" sz="quarter" idx="14"/>
          </p:nvPr>
        </p:nvSpPr>
        <p:spPr>
          <a:xfrm>
            <a:off x="6959600" y="1558796"/>
            <a:ext cx="5232400" cy="4343400"/>
          </a:xfrm>
          <a:solidFill>
            <a:schemeClr val="bg1">
              <a:lumMod val="85000"/>
            </a:schemeClr>
          </a:solidFill>
        </p:spPr>
        <p:txBody>
          <a:bodyPr/>
          <a:lstStyle/>
          <a:p>
            <a:endParaRPr lang="en-US" dirty="0"/>
          </a:p>
        </p:txBody>
      </p:sp>
      <p:sp>
        <p:nvSpPr>
          <p:cNvPr id="3" name="Picture Placeholder 2"/>
          <p:cNvSpPr>
            <a:spLocks noGrp="1"/>
          </p:cNvSpPr>
          <p:nvPr>
            <p:ph type="pic" sz="quarter" idx="13"/>
          </p:nvPr>
        </p:nvSpPr>
        <p:spPr>
          <a:xfrm>
            <a:off x="0" y="1558796"/>
            <a:ext cx="5232400" cy="4343400"/>
          </a:xfrm>
          <a:solidFill>
            <a:schemeClr val="bg1">
              <a:lumMod val="85000"/>
            </a:schemeClr>
          </a:solidFill>
        </p:spPr>
        <p:txBody>
          <a:bodyPr/>
          <a:lstStyle/>
          <a:p>
            <a:endParaRPr lang="en-US" dirty="0"/>
          </a:p>
        </p:txBody>
      </p:sp>
      <p:sp>
        <p:nvSpPr>
          <p:cNvPr id="11" name="Date Placeholder 10"/>
          <p:cNvSpPr>
            <a:spLocks noGrp="1"/>
          </p:cNvSpPr>
          <p:nvPr>
            <p:ph type="dt" sz="half" idx="10"/>
          </p:nvPr>
        </p:nvSpPr>
        <p:spPr/>
        <p:txBody>
          <a:bodyPr/>
          <a:lstStyle/>
          <a:p>
            <a:fld id="{28E7D724-5675-446C-85BE-A18FCAC3B4CC}"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22258988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4343400"/>
          </a:xfrm>
          <a:solidFill>
            <a:schemeClr val="bg1">
              <a:lumMod val="85000"/>
            </a:schemeClr>
          </a:solidFill>
        </p:spPr>
        <p:txBody>
          <a:bodyPr/>
          <a:lstStyle/>
          <a:p>
            <a:endParaRPr lang="en-US" dirty="0"/>
          </a:p>
        </p:txBody>
      </p:sp>
      <p:sp>
        <p:nvSpPr>
          <p:cNvPr id="11" name="Date Placeholder 10"/>
          <p:cNvSpPr>
            <a:spLocks noGrp="1"/>
          </p:cNvSpPr>
          <p:nvPr>
            <p:ph type="dt" sz="half" idx="10"/>
          </p:nvPr>
        </p:nvSpPr>
        <p:spPr/>
        <p:txBody>
          <a:bodyPr/>
          <a:lstStyle/>
          <a:p>
            <a:fld id="{0E34D234-15DA-4CCF-8BA8-F0E2177BA46F}"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30876251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grpSp>
        <p:nvGrpSpPr>
          <p:cNvPr id="16" name="Group 15"/>
          <p:cNvGrpSpPr/>
          <p:nvPr userDrawn="1"/>
        </p:nvGrpSpPr>
        <p:grpSpPr>
          <a:xfrm>
            <a:off x="0" y="0"/>
            <a:ext cx="5254752" cy="3634685"/>
            <a:chOff x="0" y="0"/>
            <a:chExt cx="5254752" cy="3634685"/>
          </a:xfrm>
        </p:grpSpPr>
        <p:sp>
          <p:nvSpPr>
            <p:cNvPr id="17" name="Down Arrow Callout 16"/>
            <p:cNvSpPr/>
            <p:nvPr/>
          </p:nvSpPr>
          <p:spPr bwMode="auto">
            <a:xfrm>
              <a:off x="0" y="0"/>
              <a:ext cx="5254752" cy="3634685"/>
            </a:xfrm>
            <a:prstGeom prst="downArrowCallout">
              <a:avLst>
                <a:gd name="adj1" fmla="val 20412"/>
                <a:gd name="adj2" fmla="val 10206"/>
                <a:gd name="adj3" fmla="val 10498"/>
                <a:gd name="adj4" fmla="val 92638"/>
              </a:avLst>
            </a:prstGeom>
            <a:solidFill>
              <a:schemeClr val="accent1"/>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a:p>
          </p:txBody>
        </p:sp>
        <p:grpSp>
          <p:nvGrpSpPr>
            <p:cNvPr id="18" name="Group 17"/>
            <p:cNvGrpSpPr/>
            <p:nvPr/>
          </p:nvGrpSpPr>
          <p:grpSpPr>
            <a:xfrm>
              <a:off x="4670552" y="0"/>
              <a:ext cx="584200" cy="584200"/>
              <a:chOff x="11607800" y="0"/>
              <a:chExt cx="584200" cy="584200"/>
            </a:xfrm>
          </p:grpSpPr>
          <p:sp>
            <p:nvSpPr>
              <p:cNvPr id="19" name="Right Triangle 18"/>
              <p:cNvSpPr/>
              <p:nvPr/>
            </p:nvSpPr>
            <p:spPr>
              <a:xfrm rot="16200000" flipV="1">
                <a:off x="11607800" y="0"/>
                <a:ext cx="584200" cy="58420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ight Triangle 19"/>
              <p:cNvSpPr/>
              <p:nvPr/>
            </p:nvSpPr>
            <p:spPr>
              <a:xfrm rot="16200000" flipH="1">
                <a:off x="11607800" y="0"/>
                <a:ext cx="584200" cy="584200"/>
              </a:xfrm>
              <a:prstGeom prst="r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8" name="Oval 7"/>
          <p:cNvSpPr/>
          <p:nvPr/>
        </p:nvSpPr>
        <p:spPr>
          <a:xfrm>
            <a:off x="1421216" y="3037278"/>
            <a:ext cx="3176975" cy="2742179"/>
          </a:xfrm>
          <a:prstGeom prst="ellipse">
            <a:avLst/>
          </a:prstGeom>
          <a:gradFill flip="none" rotWithShape="1">
            <a:gsLst>
              <a:gs pos="0">
                <a:schemeClr val="tx2">
                  <a:lumMod val="75000"/>
                </a:schemeClr>
              </a:gs>
              <a:gs pos="100000">
                <a:schemeClr val="tx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
        <p:nvSpPr>
          <p:cNvPr id="11" name="Date Placeholder 10"/>
          <p:cNvSpPr>
            <a:spLocks noGrp="1"/>
          </p:cNvSpPr>
          <p:nvPr>
            <p:ph type="dt" sz="half" idx="10"/>
          </p:nvPr>
        </p:nvSpPr>
        <p:spPr/>
        <p:txBody>
          <a:bodyPr/>
          <a:lstStyle/>
          <a:p>
            <a:fld id="{0E34D234-15DA-4CCF-8BA8-F0E2177BA46F}"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
        <p:nvSpPr>
          <p:cNvPr id="7" name="Oval 6"/>
          <p:cNvSpPr/>
          <p:nvPr/>
        </p:nvSpPr>
        <p:spPr bwMode="gray">
          <a:xfrm>
            <a:off x="1148559" y="1930063"/>
            <a:ext cx="3100381" cy="3100375"/>
          </a:xfrm>
          <a:prstGeom prst="ellipse">
            <a:avLst/>
          </a:prstGeom>
          <a:solidFill>
            <a:schemeClr val="bg1">
              <a:alpha val="25000"/>
            </a:schemeClr>
          </a:solidFill>
          <a:ln w="6350">
            <a:noFill/>
            <a:headEnd/>
            <a:tailEnd/>
          </a:ln>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300" b="1" dirty="0">
              <a:solidFill>
                <a:schemeClr val="tx1">
                  <a:lumMod val="65000"/>
                  <a:lumOff val="35000"/>
                </a:schemeClr>
              </a:solidFill>
              <a:latin typeface="Calibri" charset="0"/>
              <a:ea typeface="ＭＳ Ｐゴシック" charset="-128"/>
            </a:endParaRPr>
          </a:p>
        </p:txBody>
      </p:sp>
      <p:sp>
        <p:nvSpPr>
          <p:cNvPr id="14" name="Rectangle 13"/>
          <p:cNvSpPr/>
          <p:nvPr userDrawn="1"/>
        </p:nvSpPr>
        <p:spPr>
          <a:xfrm>
            <a:off x="5388864" y="5030438"/>
            <a:ext cx="6803136" cy="18275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5388864" y="4926647"/>
            <a:ext cx="680313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bwMode="gray">
          <a:xfrm>
            <a:off x="1417604" y="2199110"/>
            <a:ext cx="2562297" cy="2562293"/>
          </a:xfrm>
          <a:prstGeom prst="ellipse">
            <a:avLst/>
          </a:prstGeom>
          <a:solidFill>
            <a:schemeClr val="bg1"/>
          </a:solidFill>
          <a:ln w="6350">
            <a:noFill/>
            <a:headEnd/>
            <a:tailEnd/>
          </a:ln>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300" b="1" dirty="0">
              <a:solidFill>
                <a:schemeClr val="tx1">
                  <a:lumMod val="65000"/>
                  <a:lumOff val="35000"/>
                </a:schemeClr>
              </a:solidFill>
              <a:latin typeface="Calibri" charset="0"/>
              <a:ea typeface="ＭＳ Ｐゴシック" charset="-128"/>
            </a:endParaRPr>
          </a:p>
        </p:txBody>
      </p:sp>
      <p:sp>
        <p:nvSpPr>
          <p:cNvPr id="4" name="Picture Placeholder 3"/>
          <p:cNvSpPr>
            <a:spLocks noGrp="1"/>
          </p:cNvSpPr>
          <p:nvPr userDrawn="1">
            <p:ph type="pic" sz="quarter" idx="13"/>
          </p:nvPr>
        </p:nvSpPr>
        <p:spPr>
          <a:xfrm>
            <a:off x="1570743" y="2384792"/>
            <a:ext cx="2256013" cy="2256013"/>
          </a:xfrm>
          <a:prstGeom prst="ellipse">
            <a:avLst/>
          </a:prstGeom>
          <a:noFill/>
          <a:ln>
            <a:noFill/>
          </a:ln>
        </p:spPr>
        <p:txBody>
          <a:bodyPr/>
          <a:lstStyle/>
          <a:p>
            <a:endParaRPr lang="en-US"/>
          </a:p>
        </p:txBody>
      </p:sp>
    </p:spTree>
    <p:extLst>
      <p:ext uri="{BB962C8B-B14F-4D97-AF65-F5344CB8AC3E}">
        <p14:creationId xmlns:p14="http://schemas.microsoft.com/office/powerpoint/2010/main" val="31669257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554182" y="1625600"/>
            <a:ext cx="5541818" cy="3270865"/>
          </a:xfrm>
          <a:solidFill>
            <a:schemeClr val="bg1">
              <a:lumMod val="85000"/>
            </a:schemeClr>
          </a:solidFill>
        </p:spPr>
        <p:txBody>
          <a:bodyPr/>
          <a:lstStyle/>
          <a:p>
            <a:endParaRPr lang="en-US" dirty="0"/>
          </a:p>
        </p:txBody>
      </p:sp>
      <p:sp>
        <p:nvSpPr>
          <p:cNvPr id="9" name="Picture Placeholder 2"/>
          <p:cNvSpPr>
            <a:spLocks noGrp="1"/>
          </p:cNvSpPr>
          <p:nvPr>
            <p:ph type="pic" sz="quarter" idx="14"/>
          </p:nvPr>
        </p:nvSpPr>
        <p:spPr>
          <a:xfrm>
            <a:off x="6096000" y="1625600"/>
            <a:ext cx="5541818" cy="3270865"/>
          </a:xfrm>
          <a:solidFill>
            <a:schemeClr val="bg1">
              <a:lumMod val="85000"/>
            </a:schemeClr>
          </a:solidFill>
        </p:spPr>
        <p:txBody>
          <a:bodyPr/>
          <a:lstStyle/>
          <a:p>
            <a:endParaRPr lang="en-US" dirty="0"/>
          </a:p>
        </p:txBody>
      </p:sp>
      <p:sp>
        <p:nvSpPr>
          <p:cNvPr id="11" name="Date Placeholder 10"/>
          <p:cNvSpPr>
            <a:spLocks noGrp="1"/>
          </p:cNvSpPr>
          <p:nvPr>
            <p:ph type="dt" sz="half" idx="10"/>
          </p:nvPr>
        </p:nvSpPr>
        <p:spPr/>
        <p:txBody>
          <a:bodyPr/>
          <a:lstStyle/>
          <a:p>
            <a:fld id="{BD6E2BD8-EE1C-44A1-9870-7709DB0A285C}"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8596610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987026" y="2230480"/>
            <a:ext cx="1728368" cy="3101268"/>
          </a:xfrm>
          <a:solidFill>
            <a:schemeClr val="bg1">
              <a:lumMod val="85000"/>
            </a:schemeClr>
          </a:solidFill>
        </p:spPr>
        <p:txBody>
          <a:bodyPr/>
          <a:lstStyle/>
          <a:p>
            <a:endParaRPr lang="en-US" dirty="0"/>
          </a:p>
        </p:txBody>
      </p:sp>
      <p:sp>
        <p:nvSpPr>
          <p:cNvPr id="11" name="Date Placeholder 10"/>
          <p:cNvSpPr>
            <a:spLocks noGrp="1"/>
          </p:cNvSpPr>
          <p:nvPr>
            <p:ph type="dt" sz="half" idx="10"/>
          </p:nvPr>
        </p:nvSpPr>
        <p:spPr/>
        <p:txBody>
          <a:bodyPr/>
          <a:lstStyle/>
          <a:p>
            <a:fld id="{B9757A9A-B807-4375-B443-4C6EB962A634}"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
        <p:nvSpPr>
          <p:cNvPr id="9" name="Picture Placeholder 2"/>
          <p:cNvSpPr>
            <a:spLocks noGrp="1"/>
          </p:cNvSpPr>
          <p:nvPr>
            <p:ph type="pic" sz="quarter" idx="14"/>
          </p:nvPr>
        </p:nvSpPr>
        <p:spPr>
          <a:xfrm>
            <a:off x="2241429" y="2434282"/>
            <a:ext cx="1728368" cy="3072060"/>
          </a:xfrm>
          <a:solidFill>
            <a:schemeClr val="bg1">
              <a:lumMod val="85000"/>
            </a:schemeClr>
          </a:solidFill>
        </p:spPr>
        <p:txBody>
          <a:bodyPr/>
          <a:lstStyle/>
          <a:p>
            <a:endParaRPr lang="en-US" dirty="0"/>
          </a:p>
        </p:txBody>
      </p:sp>
    </p:spTree>
    <p:extLst>
      <p:ext uri="{BB962C8B-B14F-4D97-AF65-F5344CB8AC3E}">
        <p14:creationId xmlns:p14="http://schemas.microsoft.com/office/powerpoint/2010/main" val="29348799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835369" y="2273049"/>
            <a:ext cx="3528958" cy="1994814"/>
          </a:xfrm>
          <a:solidFill>
            <a:schemeClr val="bg1">
              <a:lumMod val="85000"/>
            </a:schemeClr>
          </a:solidFill>
        </p:spPr>
        <p:txBody>
          <a:bodyPr/>
          <a:lstStyle/>
          <a:p>
            <a:endParaRPr lang="en-US" dirty="0"/>
          </a:p>
        </p:txBody>
      </p:sp>
      <p:sp>
        <p:nvSpPr>
          <p:cNvPr id="11" name="Date Placeholder 10"/>
          <p:cNvSpPr>
            <a:spLocks noGrp="1"/>
          </p:cNvSpPr>
          <p:nvPr>
            <p:ph type="dt" sz="half" idx="10"/>
          </p:nvPr>
        </p:nvSpPr>
        <p:spPr/>
        <p:txBody>
          <a:bodyPr/>
          <a:lstStyle/>
          <a:p>
            <a:fld id="{AD474A30-A030-4438-A26F-7CD1F7278AC0}"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
        <p:nvSpPr>
          <p:cNvPr id="9" name="Picture Placeholder 2"/>
          <p:cNvSpPr>
            <a:spLocks noGrp="1"/>
          </p:cNvSpPr>
          <p:nvPr>
            <p:ph type="pic" sz="quarter" idx="14"/>
          </p:nvPr>
        </p:nvSpPr>
        <p:spPr>
          <a:xfrm>
            <a:off x="2556857" y="3751801"/>
            <a:ext cx="2278220" cy="1274763"/>
          </a:xfrm>
          <a:solidFill>
            <a:schemeClr val="bg1">
              <a:lumMod val="85000"/>
            </a:schemeClr>
          </a:solidFill>
        </p:spPr>
        <p:txBody>
          <a:bodyPr/>
          <a:lstStyle/>
          <a:p>
            <a:endParaRPr lang="en-US" dirty="0"/>
          </a:p>
        </p:txBody>
      </p:sp>
      <p:sp>
        <p:nvSpPr>
          <p:cNvPr id="15" name="Picture Placeholder 2"/>
          <p:cNvSpPr>
            <a:spLocks noGrp="1"/>
          </p:cNvSpPr>
          <p:nvPr>
            <p:ph type="pic" sz="quarter" idx="15"/>
          </p:nvPr>
        </p:nvSpPr>
        <p:spPr>
          <a:xfrm>
            <a:off x="4780309" y="4212855"/>
            <a:ext cx="737766" cy="975746"/>
          </a:xfrm>
          <a:solidFill>
            <a:schemeClr val="bg1">
              <a:lumMod val="85000"/>
            </a:schemeClr>
          </a:solidFill>
        </p:spPr>
        <p:txBody>
          <a:bodyPr>
            <a:normAutofit/>
          </a:bodyPr>
          <a:lstStyle>
            <a:lvl1pPr>
              <a:defRPr sz="900"/>
            </a:lvl1pPr>
          </a:lstStyle>
          <a:p>
            <a:endParaRPr lang="en-US" dirty="0"/>
          </a:p>
        </p:txBody>
      </p:sp>
      <p:sp>
        <p:nvSpPr>
          <p:cNvPr id="16" name="Picture Placeholder 2"/>
          <p:cNvSpPr>
            <a:spLocks noGrp="1"/>
          </p:cNvSpPr>
          <p:nvPr>
            <p:ph type="pic" sz="quarter" idx="16"/>
          </p:nvPr>
        </p:nvSpPr>
        <p:spPr>
          <a:xfrm>
            <a:off x="5463741" y="4717894"/>
            <a:ext cx="286942" cy="514870"/>
          </a:xfrm>
          <a:solidFill>
            <a:schemeClr val="bg1">
              <a:lumMod val="85000"/>
            </a:schemeClr>
          </a:solidFill>
        </p:spPr>
        <p:txBody>
          <a:bodyPr>
            <a:normAutofit/>
          </a:bodyPr>
          <a:lstStyle>
            <a:lvl1pPr marL="0" indent="0">
              <a:buNone/>
              <a:defRPr sz="500"/>
            </a:lvl1pPr>
          </a:lstStyle>
          <a:p>
            <a:endParaRPr lang="en-US" dirty="0"/>
          </a:p>
        </p:txBody>
      </p:sp>
    </p:spTree>
    <p:extLst>
      <p:ext uri="{BB962C8B-B14F-4D97-AF65-F5344CB8AC3E}">
        <p14:creationId xmlns:p14="http://schemas.microsoft.com/office/powerpoint/2010/main" val="21252680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7008" y="2372389"/>
            <a:ext cx="5651782" cy="2599244"/>
          </a:xfrm>
          <a:prstGeom prst="rect">
            <a:avLst/>
          </a:prstGeom>
        </p:spPr>
      </p:pic>
      <p:sp>
        <p:nvSpPr>
          <p:cNvPr id="11" name="Date Placeholder 10"/>
          <p:cNvSpPr>
            <a:spLocks noGrp="1"/>
          </p:cNvSpPr>
          <p:nvPr>
            <p:ph type="dt" sz="half" idx="10"/>
          </p:nvPr>
        </p:nvSpPr>
        <p:spPr/>
        <p:txBody>
          <a:bodyPr/>
          <a:lstStyle/>
          <a:p>
            <a:fld id="{AD474A30-A030-4438-A26F-7CD1F7278AC0}"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
        <p:nvSpPr>
          <p:cNvPr id="18" name="Picture Placeholder 2"/>
          <p:cNvSpPr>
            <a:spLocks noGrp="1"/>
          </p:cNvSpPr>
          <p:nvPr>
            <p:ph type="pic" sz="quarter" idx="13"/>
          </p:nvPr>
        </p:nvSpPr>
        <p:spPr>
          <a:xfrm>
            <a:off x="1383793" y="2552772"/>
            <a:ext cx="3814756" cy="2134622"/>
          </a:xfrm>
          <a:noFill/>
        </p:spPr>
        <p:txBody>
          <a:bodyPr/>
          <a:lstStyle/>
          <a:p>
            <a:endParaRPr lang="en-US" dirty="0"/>
          </a:p>
        </p:txBody>
      </p:sp>
    </p:spTree>
    <p:extLst>
      <p:ext uri="{BB962C8B-B14F-4D97-AF65-F5344CB8AC3E}">
        <p14:creationId xmlns:p14="http://schemas.microsoft.com/office/powerpoint/2010/main" val="37668980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1184255" y="2273049"/>
            <a:ext cx="3528958" cy="1994814"/>
          </a:xfrm>
          <a:noFill/>
        </p:spPr>
        <p:txBody>
          <a:bodyPr/>
          <a:lstStyle/>
          <a:p>
            <a:endParaRPr lang="en-US" dirty="0"/>
          </a:p>
        </p:txBody>
      </p:sp>
      <p:sp>
        <p:nvSpPr>
          <p:cNvPr id="17" name="Picture Placeholder 2"/>
          <p:cNvSpPr>
            <a:spLocks noGrp="1"/>
          </p:cNvSpPr>
          <p:nvPr>
            <p:ph type="pic" sz="quarter" idx="14"/>
          </p:nvPr>
        </p:nvSpPr>
        <p:spPr>
          <a:xfrm>
            <a:off x="2905851" y="3751801"/>
            <a:ext cx="2278112" cy="1274763"/>
          </a:xfrm>
          <a:noFill/>
        </p:spPr>
        <p:txBody>
          <a:bodyPr/>
          <a:lstStyle/>
          <a:p>
            <a:endParaRPr lang="en-US" dirty="0"/>
          </a:p>
        </p:txBody>
      </p:sp>
      <p:sp>
        <p:nvSpPr>
          <p:cNvPr id="11" name="Date Placeholder 10"/>
          <p:cNvSpPr>
            <a:spLocks noGrp="1"/>
          </p:cNvSpPr>
          <p:nvPr>
            <p:ph type="dt" sz="half" idx="10"/>
          </p:nvPr>
        </p:nvSpPr>
        <p:spPr/>
        <p:txBody>
          <a:bodyPr/>
          <a:lstStyle/>
          <a:p>
            <a:fld id="{AD474A30-A030-4438-A26F-7CD1F7278AC0}"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40792207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1416640" y="2423700"/>
            <a:ext cx="2331377" cy="2566612"/>
          </a:xfrm>
          <a:solidFill>
            <a:schemeClr val="bg1">
              <a:lumMod val="85000"/>
            </a:schemeClr>
          </a:solidFill>
        </p:spPr>
        <p:txBody>
          <a:bodyPr/>
          <a:lstStyle/>
          <a:p>
            <a:endParaRPr lang="en-US" dirty="0"/>
          </a:p>
        </p:txBody>
      </p:sp>
      <p:sp>
        <p:nvSpPr>
          <p:cNvPr id="11" name="Date Placeholder 10"/>
          <p:cNvSpPr>
            <a:spLocks noGrp="1"/>
          </p:cNvSpPr>
          <p:nvPr>
            <p:ph type="dt" sz="half" idx="10"/>
          </p:nvPr>
        </p:nvSpPr>
        <p:spPr/>
        <p:txBody>
          <a:bodyPr/>
          <a:lstStyle/>
          <a:p>
            <a:fld id="{11DB1E9C-0307-4657-8923-808945FD1C9B}"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868218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2282824" y="1919669"/>
            <a:ext cx="2538413" cy="2235200"/>
          </a:xfrm>
          <a:prstGeom prst="snip2DiagRect">
            <a:avLst/>
          </a:prstGeom>
          <a:solidFill>
            <a:schemeClr val="bg1">
              <a:lumMod val="85000"/>
            </a:schemeClr>
          </a:solidFill>
        </p:spPr>
        <p:txBody>
          <a:bodyPr/>
          <a:lstStyle/>
          <a:p>
            <a:endParaRPr lang="en-US" dirty="0"/>
          </a:p>
        </p:txBody>
      </p:sp>
      <p:sp>
        <p:nvSpPr>
          <p:cNvPr id="14" name="Picture Placeholder 3"/>
          <p:cNvSpPr>
            <a:spLocks noGrp="1"/>
          </p:cNvSpPr>
          <p:nvPr>
            <p:ph type="pic" sz="quarter" idx="14"/>
          </p:nvPr>
        </p:nvSpPr>
        <p:spPr>
          <a:xfrm>
            <a:off x="4821237" y="1919669"/>
            <a:ext cx="2538413" cy="2235200"/>
          </a:xfrm>
          <a:prstGeom prst="snip2DiagRect">
            <a:avLst/>
          </a:prstGeom>
          <a:solidFill>
            <a:schemeClr val="bg1">
              <a:lumMod val="85000"/>
            </a:schemeClr>
          </a:solidFill>
        </p:spPr>
        <p:txBody>
          <a:bodyPr/>
          <a:lstStyle/>
          <a:p>
            <a:endParaRPr lang="en-US" dirty="0"/>
          </a:p>
        </p:txBody>
      </p:sp>
      <p:sp>
        <p:nvSpPr>
          <p:cNvPr id="15" name="Picture Placeholder 3"/>
          <p:cNvSpPr>
            <a:spLocks noGrp="1"/>
          </p:cNvSpPr>
          <p:nvPr>
            <p:ph type="pic" sz="quarter" idx="15"/>
          </p:nvPr>
        </p:nvSpPr>
        <p:spPr>
          <a:xfrm>
            <a:off x="7359650" y="1919669"/>
            <a:ext cx="2538413" cy="2235200"/>
          </a:xfrm>
          <a:prstGeom prst="snip2DiagRect">
            <a:avLst/>
          </a:prstGeom>
          <a:solidFill>
            <a:schemeClr val="bg1">
              <a:lumMod val="85000"/>
            </a:schemeClr>
          </a:solidFill>
        </p:spPr>
        <p:txBody>
          <a:bodyPr/>
          <a:lstStyle/>
          <a:p>
            <a:endParaRPr lang="en-US" dirty="0"/>
          </a:p>
        </p:txBody>
      </p:sp>
      <p:sp>
        <p:nvSpPr>
          <p:cNvPr id="11" name="Date Placeholder 10"/>
          <p:cNvSpPr>
            <a:spLocks noGrp="1"/>
          </p:cNvSpPr>
          <p:nvPr>
            <p:ph type="dt" sz="half" idx="10"/>
          </p:nvPr>
        </p:nvSpPr>
        <p:spPr/>
        <p:txBody>
          <a:bodyPr/>
          <a:lstStyle/>
          <a:p>
            <a:fld id="{B5D07D69-9FEB-41A2-959F-A633A0F61AA5}"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31114607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7285"/>
            <a:ext cx="10896600" cy="727075"/>
          </a:xfrm>
        </p:spPr>
        <p:txBody>
          <a:bodyPr>
            <a:noAutofit/>
          </a:bodyPr>
          <a:lstStyle>
            <a:lvl1pPr>
              <a:lnSpc>
                <a:spcPct val="100000"/>
              </a:lnSpc>
              <a:defRPr sz="3200" b="1" spc="-150">
                <a:solidFill>
                  <a:schemeClr val="tx1">
                    <a:lumMod val="85000"/>
                    <a:lumOff val="15000"/>
                  </a:schemeClr>
                </a:solidFill>
                <a:latin typeface="Roboto" panose="02000000000000000000" pitchFamily="2" charset="0"/>
                <a:ea typeface="Roboto" panose="02000000000000000000" pitchFamily="2" charset="0"/>
                <a:cs typeface="Open Sans Light" panose="020B0306030504020204" pitchFamily="34" charset="0"/>
              </a:defRPr>
            </a:lvl1pPr>
          </a:lstStyle>
          <a:p>
            <a:r>
              <a:rPr lang="en-US" dirty="0"/>
              <a:t>Click To Edit Master Title Style</a:t>
            </a:r>
          </a:p>
        </p:txBody>
      </p:sp>
      <p:sp>
        <p:nvSpPr>
          <p:cNvPr id="3" name="Content Placeholder 2"/>
          <p:cNvSpPr>
            <a:spLocks noGrp="1"/>
          </p:cNvSpPr>
          <p:nvPr>
            <p:ph idx="1"/>
          </p:nvPr>
        </p:nvSpPr>
        <p:spPr>
          <a:xfrm>
            <a:off x="596900" y="1201511"/>
            <a:ext cx="10896600" cy="4351338"/>
          </a:xfrm>
        </p:spPr>
        <p:txBody>
          <a:bodyPr/>
          <a:lstStyle>
            <a:lvl1pPr>
              <a:defRPr>
                <a:solidFill>
                  <a:schemeClr val="tx1">
                    <a:lumMod val="75000"/>
                    <a:lumOff val="25000"/>
                  </a:schemeClr>
                </a:solidFill>
                <a:latin typeface="+mj-lt"/>
                <a:ea typeface="Open Sans Light" panose="020B0306030504020204" pitchFamily="34" charset="0"/>
                <a:cs typeface="Open Sans Light" panose="020B0306030504020204" pitchFamily="34" charset="0"/>
              </a:defRPr>
            </a:lvl1pPr>
            <a:lvl2pPr>
              <a:defRPr>
                <a:solidFill>
                  <a:schemeClr val="tx1">
                    <a:lumMod val="75000"/>
                    <a:lumOff val="25000"/>
                  </a:schemeClr>
                </a:solidFill>
                <a:latin typeface="+mj-lt"/>
                <a:ea typeface="Open Sans Light" panose="020B0306030504020204" pitchFamily="34" charset="0"/>
                <a:cs typeface="Open Sans Light" panose="020B0306030504020204" pitchFamily="34" charset="0"/>
              </a:defRPr>
            </a:lvl2pPr>
            <a:lvl3pPr>
              <a:defRPr>
                <a:solidFill>
                  <a:schemeClr val="tx1">
                    <a:lumMod val="75000"/>
                    <a:lumOff val="25000"/>
                  </a:schemeClr>
                </a:solidFill>
                <a:latin typeface="+mj-lt"/>
                <a:ea typeface="Open Sans Light" panose="020B0306030504020204" pitchFamily="34" charset="0"/>
                <a:cs typeface="Open Sans Light" panose="020B0306030504020204" pitchFamily="34" charset="0"/>
              </a:defRPr>
            </a:lvl3pPr>
            <a:lvl4pPr>
              <a:defRPr>
                <a:solidFill>
                  <a:schemeClr val="tx1">
                    <a:lumMod val="75000"/>
                    <a:lumOff val="25000"/>
                  </a:schemeClr>
                </a:solidFill>
                <a:latin typeface="+mj-lt"/>
                <a:ea typeface="Open Sans Light" panose="020B0306030504020204" pitchFamily="34" charset="0"/>
                <a:cs typeface="Open Sans Light" panose="020B0306030504020204" pitchFamily="34" charset="0"/>
              </a:defRPr>
            </a:lvl4pPr>
            <a:lvl5pPr>
              <a:defRPr>
                <a:solidFill>
                  <a:schemeClr val="tx1">
                    <a:lumMod val="75000"/>
                    <a:lumOff val="25000"/>
                  </a:schemeClr>
                </a:solidFill>
                <a:latin typeface="+mj-lt"/>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ED723739-4DA6-4D0E-8222-855A6B0D8DCC}" type="datetime1">
              <a:rPr lang="en-US" smtClean="0"/>
              <a:t>1/25/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1493500" y="6492875"/>
            <a:ext cx="465138" cy="365125"/>
          </a:xfrm>
        </p:spPr>
        <p:txBody>
          <a:bodyPr/>
          <a:lstStyle>
            <a:lvl1pPr algn="ctr">
              <a:defRPr sz="1000">
                <a:solidFill>
                  <a:schemeClr val="bg1"/>
                </a:solidFill>
              </a:defRPr>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34252622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9" name="Picture Placeholder 2"/>
          <p:cNvSpPr>
            <a:spLocks noGrp="1"/>
          </p:cNvSpPr>
          <p:nvPr>
            <p:ph type="pic" sz="quarter" idx="13"/>
          </p:nvPr>
        </p:nvSpPr>
        <p:spPr>
          <a:xfrm>
            <a:off x="601535" y="1577083"/>
            <a:ext cx="3604796" cy="2280056"/>
          </a:xfrm>
          <a:noFill/>
        </p:spPr>
        <p:txBody>
          <a:bodyPr/>
          <a:lstStyle/>
          <a:p>
            <a:endParaRPr lang="en-US" dirty="0"/>
          </a:p>
        </p:txBody>
      </p:sp>
      <p:sp>
        <p:nvSpPr>
          <p:cNvPr id="21" name="Picture Placeholder 2"/>
          <p:cNvSpPr>
            <a:spLocks noGrp="1"/>
          </p:cNvSpPr>
          <p:nvPr>
            <p:ph type="pic" sz="quarter" idx="14"/>
          </p:nvPr>
        </p:nvSpPr>
        <p:spPr>
          <a:xfrm>
            <a:off x="4297658" y="1577083"/>
            <a:ext cx="3604796" cy="2280056"/>
          </a:xfrm>
          <a:noFill/>
        </p:spPr>
        <p:txBody>
          <a:bodyPr/>
          <a:lstStyle/>
          <a:p>
            <a:endParaRPr lang="en-US" dirty="0"/>
          </a:p>
        </p:txBody>
      </p:sp>
      <p:sp>
        <p:nvSpPr>
          <p:cNvPr id="22" name="Picture Placeholder 2"/>
          <p:cNvSpPr>
            <a:spLocks noGrp="1"/>
          </p:cNvSpPr>
          <p:nvPr>
            <p:ph type="pic" sz="quarter" idx="15"/>
          </p:nvPr>
        </p:nvSpPr>
        <p:spPr>
          <a:xfrm>
            <a:off x="7993780" y="1577083"/>
            <a:ext cx="3604796" cy="2280056"/>
          </a:xfrm>
          <a:noFill/>
        </p:spPr>
        <p:txBody>
          <a:bodyPr/>
          <a:lstStyle/>
          <a:p>
            <a:endParaRPr lang="en-US" dirty="0"/>
          </a:p>
        </p:txBody>
      </p:sp>
      <p:sp>
        <p:nvSpPr>
          <p:cNvPr id="26" name="Picture Placeholder 2"/>
          <p:cNvSpPr>
            <a:spLocks noGrp="1"/>
          </p:cNvSpPr>
          <p:nvPr>
            <p:ph type="pic" sz="quarter" idx="16"/>
          </p:nvPr>
        </p:nvSpPr>
        <p:spPr>
          <a:xfrm>
            <a:off x="601535" y="3942475"/>
            <a:ext cx="3604796" cy="2280056"/>
          </a:xfrm>
          <a:noFill/>
        </p:spPr>
        <p:txBody>
          <a:bodyPr/>
          <a:lstStyle/>
          <a:p>
            <a:endParaRPr lang="en-US" dirty="0"/>
          </a:p>
        </p:txBody>
      </p:sp>
      <p:sp>
        <p:nvSpPr>
          <p:cNvPr id="27" name="Picture Placeholder 2"/>
          <p:cNvSpPr>
            <a:spLocks noGrp="1"/>
          </p:cNvSpPr>
          <p:nvPr>
            <p:ph type="pic" sz="quarter" idx="17"/>
          </p:nvPr>
        </p:nvSpPr>
        <p:spPr>
          <a:xfrm>
            <a:off x="4297658" y="3942475"/>
            <a:ext cx="3604796" cy="2280056"/>
          </a:xfrm>
          <a:noFill/>
        </p:spPr>
        <p:txBody>
          <a:bodyPr/>
          <a:lstStyle/>
          <a:p>
            <a:endParaRPr lang="en-US" dirty="0"/>
          </a:p>
        </p:txBody>
      </p:sp>
      <p:sp>
        <p:nvSpPr>
          <p:cNvPr id="28" name="Picture Placeholder 2"/>
          <p:cNvSpPr>
            <a:spLocks noGrp="1"/>
          </p:cNvSpPr>
          <p:nvPr>
            <p:ph type="pic" sz="quarter" idx="18"/>
          </p:nvPr>
        </p:nvSpPr>
        <p:spPr>
          <a:xfrm>
            <a:off x="7993780" y="3942475"/>
            <a:ext cx="3604796" cy="2280056"/>
          </a:xfrm>
          <a:noFill/>
        </p:spPr>
        <p:txBody>
          <a:bodyPr/>
          <a:lstStyle/>
          <a:p>
            <a:endParaRPr lang="en-US" dirty="0"/>
          </a:p>
        </p:txBody>
      </p:sp>
      <p:sp>
        <p:nvSpPr>
          <p:cNvPr id="11" name="Date Placeholder 10"/>
          <p:cNvSpPr>
            <a:spLocks noGrp="1"/>
          </p:cNvSpPr>
          <p:nvPr>
            <p:ph type="dt" sz="half" idx="10"/>
          </p:nvPr>
        </p:nvSpPr>
        <p:spPr/>
        <p:txBody>
          <a:bodyPr/>
          <a:lstStyle/>
          <a:p>
            <a:fld id="{B5D07D69-9FEB-41A2-959F-A633A0F61AA5}"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38306721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grpSp>
        <p:nvGrpSpPr>
          <p:cNvPr id="2" name="Group 1"/>
          <p:cNvGrpSpPr/>
          <p:nvPr userDrawn="1"/>
        </p:nvGrpSpPr>
        <p:grpSpPr>
          <a:xfrm>
            <a:off x="0" y="0"/>
            <a:ext cx="12192000" cy="6858000"/>
            <a:chOff x="0" y="0"/>
            <a:chExt cx="12192000" cy="6858000"/>
          </a:xfrm>
        </p:grpSpPr>
        <p:sp>
          <p:nvSpPr>
            <p:cNvPr id="8" name="Rectangle 7"/>
            <p:cNvSpPr/>
            <p:nvPr userDrawn="1"/>
          </p:nvSpPr>
          <p:spPr>
            <a:xfrm>
              <a:off x="0" y="0"/>
              <a:ext cx="2324735" cy="24745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2324735" y="2474532"/>
              <a:ext cx="4457065" cy="1908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Rectangle 17"/>
            <p:cNvSpPr/>
            <p:nvPr userDrawn="1"/>
          </p:nvSpPr>
          <p:spPr>
            <a:xfrm>
              <a:off x="6785187" y="0"/>
              <a:ext cx="54068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Rectangle 18"/>
            <p:cNvSpPr/>
            <p:nvPr userDrawn="1"/>
          </p:nvSpPr>
          <p:spPr>
            <a:xfrm>
              <a:off x="6781800" y="0"/>
              <a:ext cx="5410200" cy="247453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
        <p:nvSpPr>
          <p:cNvPr id="21" name="Picture Placeholder 2"/>
          <p:cNvSpPr>
            <a:spLocks noGrp="1"/>
          </p:cNvSpPr>
          <p:nvPr>
            <p:ph type="pic" sz="quarter" idx="13"/>
          </p:nvPr>
        </p:nvSpPr>
        <p:spPr>
          <a:xfrm>
            <a:off x="1" y="2474530"/>
            <a:ext cx="2328122" cy="4383470"/>
          </a:xfrm>
          <a:solidFill>
            <a:schemeClr val="bg1">
              <a:lumMod val="85000"/>
            </a:schemeClr>
          </a:solidFill>
        </p:spPr>
        <p:txBody>
          <a:bodyPr/>
          <a:lstStyle/>
          <a:p>
            <a:endParaRPr lang="en-US" dirty="0"/>
          </a:p>
        </p:txBody>
      </p:sp>
      <p:sp>
        <p:nvSpPr>
          <p:cNvPr id="22" name="Picture Placeholder 2"/>
          <p:cNvSpPr>
            <a:spLocks noGrp="1"/>
          </p:cNvSpPr>
          <p:nvPr>
            <p:ph type="pic" sz="quarter" idx="14"/>
          </p:nvPr>
        </p:nvSpPr>
        <p:spPr>
          <a:xfrm>
            <a:off x="2321347" y="0"/>
            <a:ext cx="4463840" cy="2474528"/>
          </a:xfrm>
          <a:solidFill>
            <a:schemeClr val="bg1">
              <a:lumMod val="85000"/>
            </a:schemeClr>
          </a:solidFill>
        </p:spPr>
        <p:txBody>
          <a:bodyPr/>
          <a:lstStyle/>
          <a:p>
            <a:endParaRPr lang="en-US" dirty="0"/>
          </a:p>
        </p:txBody>
      </p:sp>
      <p:sp>
        <p:nvSpPr>
          <p:cNvPr id="23" name="Picture Placeholder 2"/>
          <p:cNvSpPr>
            <a:spLocks noGrp="1"/>
          </p:cNvSpPr>
          <p:nvPr>
            <p:ph type="pic" sz="quarter" idx="15"/>
          </p:nvPr>
        </p:nvSpPr>
        <p:spPr>
          <a:xfrm>
            <a:off x="2321347" y="4383472"/>
            <a:ext cx="4463840" cy="2474528"/>
          </a:xfrm>
          <a:solidFill>
            <a:schemeClr val="bg1">
              <a:lumMod val="85000"/>
            </a:schemeClr>
          </a:solidFill>
        </p:spPr>
        <p:txBody>
          <a:bodyPr/>
          <a:lstStyle/>
          <a:p>
            <a:endParaRPr lang="en-US" dirty="0"/>
          </a:p>
        </p:txBody>
      </p:sp>
      <p:sp>
        <p:nvSpPr>
          <p:cNvPr id="24" name="Picture Placeholder 2"/>
          <p:cNvSpPr>
            <a:spLocks noGrp="1"/>
          </p:cNvSpPr>
          <p:nvPr>
            <p:ph type="pic" sz="quarter" idx="16"/>
          </p:nvPr>
        </p:nvSpPr>
        <p:spPr>
          <a:xfrm>
            <a:off x="6771636" y="2474531"/>
            <a:ext cx="5420363" cy="1908936"/>
          </a:xfrm>
          <a:solidFill>
            <a:schemeClr val="bg1">
              <a:lumMod val="85000"/>
            </a:schemeClr>
          </a:solidFill>
        </p:spPr>
        <p:txBody>
          <a:bodyPr/>
          <a:lstStyle/>
          <a:p>
            <a:endParaRPr lang="en-US" dirty="0"/>
          </a:p>
        </p:txBody>
      </p:sp>
    </p:spTree>
    <p:extLst>
      <p:ext uri="{BB962C8B-B14F-4D97-AF65-F5344CB8AC3E}">
        <p14:creationId xmlns:p14="http://schemas.microsoft.com/office/powerpoint/2010/main" val="34810100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14" name="Picture Placeholder 3"/>
          <p:cNvSpPr>
            <a:spLocks noGrp="1"/>
          </p:cNvSpPr>
          <p:nvPr>
            <p:ph type="pic" sz="quarter" idx="14"/>
          </p:nvPr>
        </p:nvSpPr>
        <p:spPr>
          <a:xfrm>
            <a:off x="4973288" y="0"/>
            <a:ext cx="2663253" cy="2286000"/>
          </a:xfrm>
          <a:prstGeom prst="snip2DiagRect">
            <a:avLst>
              <a:gd name="adj1" fmla="val 0"/>
              <a:gd name="adj2" fmla="val 0"/>
            </a:avLst>
          </a:prstGeom>
          <a:noFill/>
        </p:spPr>
        <p:txBody>
          <a:bodyPr/>
          <a:lstStyle/>
          <a:p>
            <a:endParaRPr lang="en-US" dirty="0"/>
          </a:p>
        </p:txBody>
      </p:sp>
      <p:sp>
        <p:nvSpPr>
          <p:cNvPr id="16" name="Picture Placeholder 3"/>
          <p:cNvSpPr>
            <a:spLocks noGrp="1"/>
          </p:cNvSpPr>
          <p:nvPr>
            <p:ph type="pic" sz="quarter" idx="15"/>
          </p:nvPr>
        </p:nvSpPr>
        <p:spPr>
          <a:xfrm>
            <a:off x="4973288" y="2286000"/>
            <a:ext cx="2663253" cy="2286000"/>
          </a:xfrm>
          <a:prstGeom prst="snip2DiagRect">
            <a:avLst>
              <a:gd name="adj1" fmla="val 0"/>
              <a:gd name="adj2" fmla="val 0"/>
            </a:avLst>
          </a:prstGeom>
          <a:noFill/>
        </p:spPr>
        <p:txBody>
          <a:bodyPr/>
          <a:lstStyle/>
          <a:p>
            <a:endParaRPr lang="en-US" dirty="0"/>
          </a:p>
        </p:txBody>
      </p:sp>
      <p:sp>
        <p:nvSpPr>
          <p:cNvPr id="17" name="Picture Placeholder 3"/>
          <p:cNvSpPr>
            <a:spLocks noGrp="1"/>
          </p:cNvSpPr>
          <p:nvPr>
            <p:ph type="pic" sz="quarter" idx="16"/>
          </p:nvPr>
        </p:nvSpPr>
        <p:spPr>
          <a:xfrm>
            <a:off x="4973288" y="4572000"/>
            <a:ext cx="2663253" cy="2286000"/>
          </a:xfrm>
          <a:prstGeom prst="snip2DiagRect">
            <a:avLst>
              <a:gd name="adj1" fmla="val 0"/>
              <a:gd name="adj2" fmla="val 0"/>
            </a:avLst>
          </a:prstGeom>
          <a:noFill/>
        </p:spPr>
        <p:txBody>
          <a:bodyPr/>
          <a:lstStyle/>
          <a:p>
            <a:endParaRPr lang="en-US" dirty="0"/>
          </a:p>
        </p:txBody>
      </p:sp>
      <p:sp>
        <p:nvSpPr>
          <p:cNvPr id="11" name="Date Placeholder 10"/>
          <p:cNvSpPr>
            <a:spLocks noGrp="1"/>
          </p:cNvSpPr>
          <p:nvPr>
            <p:ph type="dt" sz="half" idx="10"/>
          </p:nvPr>
        </p:nvSpPr>
        <p:spPr/>
        <p:txBody>
          <a:bodyPr/>
          <a:lstStyle/>
          <a:p>
            <a:fld id="{B5D07D69-9FEB-41A2-959F-A633A0F61AA5}"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38294331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Rectangle 1"/>
          <p:cNvSpPr/>
          <p:nvPr userDrawn="1"/>
        </p:nvSpPr>
        <p:spPr>
          <a:xfrm>
            <a:off x="0" y="6477000"/>
            <a:ext cx="12192000" cy="381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Slide Number Placeholder 12"/>
          <p:cNvSpPr>
            <a:spLocks noGrp="1"/>
          </p:cNvSpPr>
          <p:nvPr>
            <p:ph type="sldNum" sz="quarter" idx="12"/>
          </p:nvPr>
        </p:nvSpPr>
        <p:spPr>
          <a:xfrm>
            <a:off x="1638458" y="6529322"/>
            <a:ext cx="415714" cy="301756"/>
          </a:xfrm>
        </p:spPr>
        <p:txBody>
          <a:bodyPr/>
          <a:lstStyle>
            <a:lvl1pPr algn="ctr">
              <a:defRPr sz="1000"/>
            </a:lvl1pPr>
          </a:lstStyle>
          <a:p>
            <a:fld id="{41DAFBFA-C652-4E4B-AC31-FEFC406FA02E}" type="slidenum">
              <a:rPr lang="en-US" smtClean="0"/>
              <a:pPr/>
              <a:t>‹#›</a:t>
            </a:fld>
            <a:endParaRPr lang="en-US" dirty="0"/>
          </a:p>
        </p:txBody>
      </p:sp>
      <p:grpSp>
        <p:nvGrpSpPr>
          <p:cNvPr id="3" name="Group 2"/>
          <p:cNvGrpSpPr/>
          <p:nvPr userDrawn="1"/>
        </p:nvGrpSpPr>
        <p:grpSpPr>
          <a:xfrm>
            <a:off x="381000" y="6544632"/>
            <a:ext cx="1686136" cy="261610"/>
            <a:chOff x="10254196" y="6544632"/>
            <a:chExt cx="1686136" cy="261610"/>
          </a:xfrm>
        </p:grpSpPr>
        <p:sp>
          <p:nvSpPr>
            <p:cNvPr id="9" name="Rectangle 8"/>
            <p:cNvSpPr/>
            <p:nvPr userDrawn="1"/>
          </p:nvSpPr>
          <p:spPr>
            <a:xfrm>
              <a:off x="10254196" y="6544632"/>
              <a:ext cx="1247457" cy="261610"/>
            </a:xfrm>
            <a:prstGeom prst="rect">
              <a:avLst/>
            </a:prstGeom>
          </p:spPr>
          <p:txBody>
            <a:bodyPr wrap="none">
              <a:spAutoFit/>
            </a:bodyPr>
            <a:lstStyle/>
            <a:p>
              <a:pPr algn="r">
                <a:defRPr/>
              </a:pPr>
              <a:r>
                <a:rPr lang="en-US" sz="1100" dirty="0">
                  <a:solidFill>
                    <a:schemeClr val="tx1">
                      <a:lumMod val="50000"/>
                      <a:lumOff val="50000"/>
                    </a:schemeClr>
                  </a:solidFill>
                  <a:latin typeface="Source Sans Pro Light" panose="020B0403030403020204" pitchFamily="34" charset="0"/>
                  <a:ea typeface="Roboto" panose="02000000000000000000" pitchFamily="2" charset="0"/>
                </a:rPr>
                <a:t>www.comany.com</a:t>
              </a:r>
            </a:p>
          </p:txBody>
        </p:sp>
        <p:sp>
          <p:nvSpPr>
            <p:cNvPr id="10" name="Freeform 453"/>
            <p:cNvSpPr>
              <a:spLocks/>
            </p:cNvSpPr>
            <p:nvPr userDrawn="1"/>
          </p:nvSpPr>
          <p:spPr bwMode="auto">
            <a:xfrm>
              <a:off x="11497787" y="6619655"/>
              <a:ext cx="72243" cy="134554"/>
            </a:xfrm>
            <a:custGeom>
              <a:avLst/>
              <a:gdLst>
                <a:gd name="T0" fmla="*/ 307 w 317"/>
                <a:gd name="T1" fmla="*/ 596 h 596"/>
                <a:gd name="T2" fmla="*/ 303 w 317"/>
                <a:gd name="T3" fmla="*/ 595 h 596"/>
                <a:gd name="T4" fmla="*/ 300 w 317"/>
                <a:gd name="T5" fmla="*/ 593 h 596"/>
                <a:gd name="T6" fmla="*/ 3 w 317"/>
                <a:gd name="T7" fmla="*/ 304 h 596"/>
                <a:gd name="T8" fmla="*/ 0 w 317"/>
                <a:gd name="T9" fmla="*/ 301 h 596"/>
                <a:gd name="T10" fmla="*/ 0 w 317"/>
                <a:gd name="T11" fmla="*/ 298 h 596"/>
                <a:gd name="T12" fmla="*/ 0 w 317"/>
                <a:gd name="T13" fmla="*/ 293 h 596"/>
                <a:gd name="T14" fmla="*/ 3 w 317"/>
                <a:gd name="T15" fmla="*/ 290 h 596"/>
                <a:gd name="T16" fmla="*/ 300 w 317"/>
                <a:gd name="T17" fmla="*/ 2 h 596"/>
                <a:gd name="T18" fmla="*/ 303 w 317"/>
                <a:gd name="T19" fmla="*/ 0 h 596"/>
                <a:gd name="T20" fmla="*/ 307 w 317"/>
                <a:gd name="T21" fmla="*/ 0 h 596"/>
                <a:gd name="T22" fmla="*/ 311 w 317"/>
                <a:gd name="T23" fmla="*/ 1 h 596"/>
                <a:gd name="T24" fmla="*/ 314 w 317"/>
                <a:gd name="T25" fmla="*/ 3 h 596"/>
                <a:gd name="T26" fmla="*/ 316 w 317"/>
                <a:gd name="T27" fmla="*/ 6 h 596"/>
                <a:gd name="T28" fmla="*/ 317 w 317"/>
                <a:gd name="T29" fmla="*/ 9 h 596"/>
                <a:gd name="T30" fmla="*/ 316 w 317"/>
                <a:gd name="T31" fmla="*/ 14 h 596"/>
                <a:gd name="T32" fmla="*/ 314 w 317"/>
                <a:gd name="T33" fmla="*/ 17 h 596"/>
                <a:gd name="T34" fmla="*/ 23 w 317"/>
                <a:gd name="T35" fmla="*/ 298 h 596"/>
                <a:gd name="T36" fmla="*/ 314 w 317"/>
                <a:gd name="T37" fmla="*/ 578 h 596"/>
                <a:gd name="T38" fmla="*/ 316 w 317"/>
                <a:gd name="T39" fmla="*/ 582 h 596"/>
                <a:gd name="T40" fmla="*/ 317 w 317"/>
                <a:gd name="T41" fmla="*/ 585 h 596"/>
                <a:gd name="T42" fmla="*/ 316 w 317"/>
                <a:gd name="T43" fmla="*/ 589 h 596"/>
                <a:gd name="T44" fmla="*/ 314 w 317"/>
                <a:gd name="T45" fmla="*/ 593 h 596"/>
                <a:gd name="T46" fmla="*/ 311 w 317"/>
                <a:gd name="T47" fmla="*/ 595 h 596"/>
                <a:gd name="T48" fmla="*/ 307 w 317"/>
                <a:gd name="T49"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 h="596">
                  <a:moveTo>
                    <a:pt x="307" y="596"/>
                  </a:moveTo>
                  <a:lnTo>
                    <a:pt x="303" y="595"/>
                  </a:lnTo>
                  <a:lnTo>
                    <a:pt x="300" y="593"/>
                  </a:lnTo>
                  <a:lnTo>
                    <a:pt x="3" y="304"/>
                  </a:lnTo>
                  <a:lnTo>
                    <a:pt x="0" y="301"/>
                  </a:lnTo>
                  <a:lnTo>
                    <a:pt x="0" y="298"/>
                  </a:lnTo>
                  <a:lnTo>
                    <a:pt x="0" y="293"/>
                  </a:lnTo>
                  <a:lnTo>
                    <a:pt x="3" y="290"/>
                  </a:lnTo>
                  <a:lnTo>
                    <a:pt x="300" y="2"/>
                  </a:lnTo>
                  <a:lnTo>
                    <a:pt x="303" y="0"/>
                  </a:lnTo>
                  <a:lnTo>
                    <a:pt x="307" y="0"/>
                  </a:lnTo>
                  <a:lnTo>
                    <a:pt x="311" y="1"/>
                  </a:lnTo>
                  <a:lnTo>
                    <a:pt x="314" y="3"/>
                  </a:lnTo>
                  <a:lnTo>
                    <a:pt x="316" y="6"/>
                  </a:lnTo>
                  <a:lnTo>
                    <a:pt x="317" y="9"/>
                  </a:lnTo>
                  <a:lnTo>
                    <a:pt x="316" y="14"/>
                  </a:lnTo>
                  <a:lnTo>
                    <a:pt x="314" y="17"/>
                  </a:lnTo>
                  <a:lnTo>
                    <a:pt x="23" y="298"/>
                  </a:lnTo>
                  <a:lnTo>
                    <a:pt x="314" y="578"/>
                  </a:lnTo>
                  <a:lnTo>
                    <a:pt x="316" y="582"/>
                  </a:lnTo>
                  <a:lnTo>
                    <a:pt x="317" y="585"/>
                  </a:lnTo>
                  <a:lnTo>
                    <a:pt x="316" y="589"/>
                  </a:lnTo>
                  <a:lnTo>
                    <a:pt x="314" y="593"/>
                  </a:lnTo>
                  <a:lnTo>
                    <a:pt x="311" y="595"/>
                  </a:lnTo>
                  <a:lnTo>
                    <a:pt x="307" y="596"/>
                  </a:ln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endParaRPr lang="en-US" sz="1100" dirty="0"/>
            </a:p>
          </p:txBody>
        </p:sp>
        <p:sp>
          <p:nvSpPr>
            <p:cNvPr id="14" name="Freeform 454"/>
            <p:cNvSpPr>
              <a:spLocks/>
            </p:cNvSpPr>
            <p:nvPr userDrawn="1"/>
          </p:nvSpPr>
          <p:spPr bwMode="auto">
            <a:xfrm>
              <a:off x="11868991" y="6619655"/>
              <a:ext cx="71341" cy="134554"/>
            </a:xfrm>
            <a:custGeom>
              <a:avLst/>
              <a:gdLst>
                <a:gd name="T0" fmla="*/ 10 w 318"/>
                <a:gd name="T1" fmla="*/ 596 h 596"/>
                <a:gd name="T2" fmla="*/ 6 w 318"/>
                <a:gd name="T3" fmla="*/ 595 h 596"/>
                <a:gd name="T4" fmla="*/ 2 w 318"/>
                <a:gd name="T5" fmla="*/ 593 h 596"/>
                <a:gd name="T6" fmla="*/ 0 w 318"/>
                <a:gd name="T7" fmla="*/ 589 h 596"/>
                <a:gd name="T8" fmla="*/ 0 w 318"/>
                <a:gd name="T9" fmla="*/ 585 h 596"/>
                <a:gd name="T10" fmla="*/ 0 w 318"/>
                <a:gd name="T11" fmla="*/ 582 h 596"/>
                <a:gd name="T12" fmla="*/ 2 w 318"/>
                <a:gd name="T13" fmla="*/ 578 h 596"/>
                <a:gd name="T14" fmla="*/ 293 w 318"/>
                <a:gd name="T15" fmla="*/ 298 h 596"/>
                <a:gd name="T16" fmla="*/ 2 w 318"/>
                <a:gd name="T17" fmla="*/ 17 h 596"/>
                <a:gd name="T18" fmla="*/ 0 w 318"/>
                <a:gd name="T19" fmla="*/ 14 h 596"/>
                <a:gd name="T20" fmla="*/ 0 w 318"/>
                <a:gd name="T21" fmla="*/ 9 h 596"/>
                <a:gd name="T22" fmla="*/ 0 w 318"/>
                <a:gd name="T23" fmla="*/ 6 h 596"/>
                <a:gd name="T24" fmla="*/ 2 w 318"/>
                <a:gd name="T25" fmla="*/ 3 h 596"/>
                <a:gd name="T26" fmla="*/ 6 w 318"/>
                <a:gd name="T27" fmla="*/ 1 h 596"/>
                <a:gd name="T28" fmla="*/ 10 w 318"/>
                <a:gd name="T29" fmla="*/ 0 h 596"/>
                <a:gd name="T30" fmla="*/ 13 w 318"/>
                <a:gd name="T31" fmla="*/ 0 h 596"/>
                <a:gd name="T32" fmla="*/ 17 w 318"/>
                <a:gd name="T33" fmla="*/ 2 h 596"/>
                <a:gd name="T34" fmla="*/ 315 w 318"/>
                <a:gd name="T35" fmla="*/ 290 h 596"/>
                <a:gd name="T36" fmla="*/ 317 w 318"/>
                <a:gd name="T37" fmla="*/ 293 h 596"/>
                <a:gd name="T38" fmla="*/ 318 w 318"/>
                <a:gd name="T39" fmla="*/ 298 h 596"/>
                <a:gd name="T40" fmla="*/ 317 w 318"/>
                <a:gd name="T41" fmla="*/ 301 h 596"/>
                <a:gd name="T42" fmla="*/ 315 w 318"/>
                <a:gd name="T43" fmla="*/ 304 h 596"/>
                <a:gd name="T44" fmla="*/ 17 w 318"/>
                <a:gd name="T45" fmla="*/ 593 h 596"/>
                <a:gd name="T46" fmla="*/ 13 w 318"/>
                <a:gd name="T47" fmla="*/ 595 h 596"/>
                <a:gd name="T48" fmla="*/ 10 w 318"/>
                <a:gd name="T49"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8" h="596">
                  <a:moveTo>
                    <a:pt x="10" y="596"/>
                  </a:moveTo>
                  <a:lnTo>
                    <a:pt x="6" y="595"/>
                  </a:lnTo>
                  <a:lnTo>
                    <a:pt x="2" y="593"/>
                  </a:lnTo>
                  <a:lnTo>
                    <a:pt x="0" y="589"/>
                  </a:lnTo>
                  <a:lnTo>
                    <a:pt x="0" y="585"/>
                  </a:lnTo>
                  <a:lnTo>
                    <a:pt x="0" y="582"/>
                  </a:lnTo>
                  <a:lnTo>
                    <a:pt x="2" y="578"/>
                  </a:lnTo>
                  <a:lnTo>
                    <a:pt x="293" y="298"/>
                  </a:lnTo>
                  <a:lnTo>
                    <a:pt x="2" y="17"/>
                  </a:lnTo>
                  <a:lnTo>
                    <a:pt x="0" y="14"/>
                  </a:lnTo>
                  <a:lnTo>
                    <a:pt x="0" y="9"/>
                  </a:lnTo>
                  <a:lnTo>
                    <a:pt x="0" y="6"/>
                  </a:lnTo>
                  <a:lnTo>
                    <a:pt x="2" y="3"/>
                  </a:lnTo>
                  <a:lnTo>
                    <a:pt x="6" y="1"/>
                  </a:lnTo>
                  <a:lnTo>
                    <a:pt x="10" y="0"/>
                  </a:lnTo>
                  <a:lnTo>
                    <a:pt x="13" y="0"/>
                  </a:lnTo>
                  <a:lnTo>
                    <a:pt x="17" y="2"/>
                  </a:lnTo>
                  <a:lnTo>
                    <a:pt x="315" y="290"/>
                  </a:lnTo>
                  <a:lnTo>
                    <a:pt x="317" y="293"/>
                  </a:lnTo>
                  <a:lnTo>
                    <a:pt x="318" y="298"/>
                  </a:lnTo>
                  <a:lnTo>
                    <a:pt x="317" y="301"/>
                  </a:lnTo>
                  <a:lnTo>
                    <a:pt x="315" y="304"/>
                  </a:lnTo>
                  <a:lnTo>
                    <a:pt x="17" y="593"/>
                  </a:lnTo>
                  <a:lnTo>
                    <a:pt x="13" y="595"/>
                  </a:lnTo>
                  <a:lnTo>
                    <a:pt x="10" y="596"/>
                  </a:ln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endParaRPr lang="en-US" sz="1100" dirty="0"/>
            </a:p>
          </p:txBody>
        </p:sp>
      </p:grpSp>
    </p:spTree>
    <p:extLst>
      <p:ext uri="{BB962C8B-B14F-4D97-AF65-F5344CB8AC3E}">
        <p14:creationId xmlns:p14="http://schemas.microsoft.com/office/powerpoint/2010/main" val="19457252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95434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Blank">
    <p:bg>
      <p:bgPr>
        <a:solidFill>
          <a:schemeClr val="accent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11607800" y="0"/>
            <a:ext cx="584200" cy="584200"/>
            <a:chOff x="11607800" y="0"/>
            <a:chExt cx="584200" cy="584200"/>
          </a:xfrm>
        </p:grpSpPr>
        <p:sp>
          <p:nvSpPr>
            <p:cNvPr id="4" name="Right Triangle 3"/>
            <p:cNvSpPr/>
            <p:nvPr/>
          </p:nvSpPr>
          <p:spPr>
            <a:xfrm rot="16200000" flipV="1">
              <a:off x="11607800" y="0"/>
              <a:ext cx="584200" cy="58420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ight Triangle 4"/>
            <p:cNvSpPr/>
            <p:nvPr/>
          </p:nvSpPr>
          <p:spPr>
            <a:xfrm rot="16200000" flipH="1">
              <a:off x="11607800" y="0"/>
              <a:ext cx="584200" cy="58420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 name="Title 1"/>
          <p:cNvSpPr>
            <a:spLocks noGrp="1"/>
          </p:cNvSpPr>
          <p:nvPr>
            <p:ph type="title" hasCustomPrompt="1"/>
          </p:nvPr>
        </p:nvSpPr>
        <p:spPr>
          <a:xfrm>
            <a:off x="2277319" y="2837310"/>
            <a:ext cx="7133381" cy="727075"/>
          </a:xfrm>
        </p:spPr>
        <p:txBody>
          <a:bodyPr>
            <a:noAutofit/>
          </a:bodyPr>
          <a:lstStyle>
            <a:lvl1pPr>
              <a:lnSpc>
                <a:spcPct val="100000"/>
              </a:lnSpc>
              <a:defRPr sz="3200" b="1" spc="-150">
                <a:solidFill>
                  <a:schemeClr val="bg1"/>
                </a:solidFill>
                <a:latin typeface="Roboto" panose="02000000000000000000" pitchFamily="2" charset="0"/>
                <a:ea typeface="Roboto" panose="02000000000000000000" pitchFamily="2" charset="0"/>
                <a:cs typeface="Open Sans Light" panose="020B0306030504020204" pitchFamily="34" charset="0"/>
              </a:defRPr>
            </a:lvl1pPr>
          </a:lstStyle>
          <a:p>
            <a:r>
              <a:rPr lang="en-US" dirty="0"/>
              <a:t>Click To Edit Master Title Style</a:t>
            </a:r>
          </a:p>
        </p:txBody>
      </p:sp>
    </p:spTree>
    <p:extLst>
      <p:ext uri="{BB962C8B-B14F-4D97-AF65-F5344CB8AC3E}">
        <p14:creationId xmlns:p14="http://schemas.microsoft.com/office/powerpoint/2010/main" val="27100610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_Blank">
    <p:bg>
      <p:bgPr>
        <a:solidFill>
          <a:schemeClr val="accent1"/>
        </a:solidFill>
        <a:effectLst/>
      </p:bgPr>
    </p:bg>
    <p:spTree>
      <p:nvGrpSpPr>
        <p:cNvPr id="1" name=""/>
        <p:cNvGrpSpPr/>
        <p:nvPr/>
      </p:nvGrpSpPr>
      <p:grpSpPr>
        <a:xfrm>
          <a:off x="0" y="0"/>
          <a:ext cx="0" cy="0"/>
          <a:chOff x="0" y="0"/>
          <a:chExt cx="0" cy="0"/>
        </a:xfrm>
      </p:grpSpPr>
      <p:sp>
        <p:nvSpPr>
          <p:cNvPr id="8" name="Picture Placeholder 3"/>
          <p:cNvSpPr>
            <a:spLocks noGrp="1"/>
          </p:cNvSpPr>
          <p:nvPr>
            <p:ph type="pic" sz="quarter" idx="14"/>
          </p:nvPr>
        </p:nvSpPr>
        <p:spPr>
          <a:xfrm>
            <a:off x="0" y="0"/>
            <a:ext cx="12192000" cy="4214734"/>
          </a:xfrm>
          <a:prstGeom prst="snip2DiagRect">
            <a:avLst>
              <a:gd name="adj1" fmla="val 0"/>
              <a:gd name="adj2" fmla="val 0"/>
            </a:avLst>
          </a:prstGeom>
          <a:solidFill>
            <a:schemeClr val="bg1">
              <a:lumMod val="85000"/>
            </a:schemeClr>
          </a:solidFill>
        </p:spPr>
        <p:txBody>
          <a:bodyPr/>
          <a:lstStyle/>
          <a:p>
            <a:endParaRPr lang="en-US" dirty="0"/>
          </a:p>
        </p:txBody>
      </p:sp>
      <p:grpSp>
        <p:nvGrpSpPr>
          <p:cNvPr id="3" name="Group 2"/>
          <p:cNvGrpSpPr/>
          <p:nvPr userDrawn="1"/>
        </p:nvGrpSpPr>
        <p:grpSpPr>
          <a:xfrm>
            <a:off x="11607800" y="0"/>
            <a:ext cx="584200" cy="584200"/>
            <a:chOff x="11607800" y="0"/>
            <a:chExt cx="584200" cy="584200"/>
          </a:xfrm>
        </p:grpSpPr>
        <p:sp>
          <p:nvSpPr>
            <p:cNvPr id="4" name="Right Triangle 3"/>
            <p:cNvSpPr/>
            <p:nvPr/>
          </p:nvSpPr>
          <p:spPr>
            <a:xfrm rot="16200000" flipV="1">
              <a:off x="11607800" y="0"/>
              <a:ext cx="584200" cy="58420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ight Triangle 4"/>
            <p:cNvSpPr/>
            <p:nvPr/>
          </p:nvSpPr>
          <p:spPr>
            <a:xfrm rot="16200000" flipH="1">
              <a:off x="11607800" y="0"/>
              <a:ext cx="584200" cy="58420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 name="Title 1"/>
          <p:cNvSpPr>
            <a:spLocks noGrp="1"/>
          </p:cNvSpPr>
          <p:nvPr>
            <p:ph type="title" hasCustomPrompt="1"/>
          </p:nvPr>
        </p:nvSpPr>
        <p:spPr>
          <a:xfrm>
            <a:off x="2080549" y="4585087"/>
            <a:ext cx="7133381" cy="727075"/>
          </a:xfrm>
        </p:spPr>
        <p:txBody>
          <a:bodyPr>
            <a:noAutofit/>
          </a:bodyPr>
          <a:lstStyle>
            <a:lvl1pPr>
              <a:lnSpc>
                <a:spcPct val="100000"/>
              </a:lnSpc>
              <a:defRPr sz="3200" b="1" spc="-150">
                <a:solidFill>
                  <a:schemeClr val="bg1"/>
                </a:solidFill>
                <a:latin typeface="Roboto" panose="02000000000000000000" pitchFamily="2" charset="0"/>
                <a:ea typeface="Roboto" panose="02000000000000000000" pitchFamily="2" charset="0"/>
                <a:cs typeface="Open Sans Light" panose="020B0306030504020204" pitchFamily="34" charset="0"/>
              </a:defRPr>
            </a:lvl1pPr>
          </a:lstStyle>
          <a:p>
            <a:r>
              <a:rPr lang="en-US" dirty="0"/>
              <a:t>Click To Edit Master Title Style</a:t>
            </a:r>
          </a:p>
        </p:txBody>
      </p:sp>
    </p:spTree>
    <p:extLst>
      <p:ext uri="{BB962C8B-B14F-4D97-AF65-F5344CB8AC3E}">
        <p14:creationId xmlns:p14="http://schemas.microsoft.com/office/powerpoint/2010/main" val="20837930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1" name="Date Placeholder 10"/>
          <p:cNvSpPr>
            <a:spLocks noGrp="1"/>
          </p:cNvSpPr>
          <p:nvPr>
            <p:ph type="dt" sz="half" idx="10"/>
          </p:nvPr>
        </p:nvSpPr>
        <p:spPr/>
        <p:txBody>
          <a:bodyPr/>
          <a:lstStyle/>
          <a:p>
            <a:fld id="{263A3799-AA52-4D2F-8629-54766EEEEA58}"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solidFill>
                  <a:schemeClr val="bg1"/>
                </a:solidFill>
              </a:defRPr>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2671841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11" name="Date Placeholder 10"/>
          <p:cNvSpPr>
            <a:spLocks noGrp="1"/>
          </p:cNvSpPr>
          <p:nvPr>
            <p:ph type="dt" sz="half" idx="10"/>
          </p:nvPr>
        </p:nvSpPr>
        <p:spPr/>
        <p:txBody>
          <a:bodyPr/>
          <a:lstStyle/>
          <a:p>
            <a:fld id="{263A3799-AA52-4D2F-8629-54766EEEEA58}"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
        <p:nvSpPr>
          <p:cNvPr id="5" name="Oval 4"/>
          <p:cNvSpPr/>
          <p:nvPr userDrawn="1"/>
        </p:nvSpPr>
        <p:spPr>
          <a:xfrm>
            <a:off x="4060523" y="3024450"/>
            <a:ext cx="1565639" cy="923004"/>
          </a:xfrm>
          <a:prstGeom prst="ellipse">
            <a:avLst/>
          </a:prstGeom>
          <a:gradFill flip="none" rotWithShape="1">
            <a:gsLst>
              <a:gs pos="0">
                <a:schemeClr val="tx1">
                  <a:lumMod val="95000"/>
                  <a:lumOff val="5000"/>
                </a:schemeClr>
              </a:gs>
              <a:gs pos="100000">
                <a:schemeClr val="tx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id-ID">
              <a:solidFill>
                <a:schemeClr val="bg1"/>
              </a:solidFill>
            </a:endParaRPr>
          </a:p>
        </p:txBody>
      </p:sp>
      <p:sp>
        <p:nvSpPr>
          <p:cNvPr id="6" name="Oval 5"/>
          <p:cNvSpPr/>
          <p:nvPr userDrawn="1"/>
        </p:nvSpPr>
        <p:spPr>
          <a:xfrm>
            <a:off x="6621677" y="3024450"/>
            <a:ext cx="1565639" cy="923004"/>
          </a:xfrm>
          <a:prstGeom prst="ellipse">
            <a:avLst/>
          </a:prstGeom>
          <a:gradFill flip="none" rotWithShape="1">
            <a:gsLst>
              <a:gs pos="0">
                <a:schemeClr val="tx1">
                  <a:lumMod val="95000"/>
                  <a:lumOff val="5000"/>
                </a:schemeClr>
              </a:gs>
              <a:gs pos="100000">
                <a:schemeClr val="tx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id-ID">
              <a:solidFill>
                <a:schemeClr val="bg1"/>
              </a:solidFill>
            </a:endParaRPr>
          </a:p>
        </p:txBody>
      </p:sp>
      <p:sp>
        <p:nvSpPr>
          <p:cNvPr id="7" name="Oval 6"/>
          <p:cNvSpPr/>
          <p:nvPr userDrawn="1"/>
        </p:nvSpPr>
        <p:spPr>
          <a:xfrm>
            <a:off x="9231530" y="3024450"/>
            <a:ext cx="1565639" cy="923004"/>
          </a:xfrm>
          <a:prstGeom prst="ellipse">
            <a:avLst/>
          </a:prstGeom>
          <a:gradFill flip="none" rotWithShape="1">
            <a:gsLst>
              <a:gs pos="0">
                <a:schemeClr val="tx1">
                  <a:lumMod val="95000"/>
                  <a:lumOff val="5000"/>
                </a:schemeClr>
              </a:gs>
              <a:gs pos="100000">
                <a:schemeClr val="tx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id-ID">
              <a:solidFill>
                <a:schemeClr val="bg1"/>
              </a:solidFill>
            </a:endParaRPr>
          </a:p>
        </p:txBody>
      </p:sp>
      <p:sp>
        <p:nvSpPr>
          <p:cNvPr id="8" name="Oval 7"/>
          <p:cNvSpPr/>
          <p:nvPr userDrawn="1"/>
        </p:nvSpPr>
        <p:spPr>
          <a:xfrm>
            <a:off x="1378068" y="3024450"/>
            <a:ext cx="1565639" cy="923004"/>
          </a:xfrm>
          <a:prstGeom prst="ellipse">
            <a:avLst/>
          </a:prstGeom>
          <a:gradFill flip="none" rotWithShape="1">
            <a:gsLst>
              <a:gs pos="0">
                <a:schemeClr val="tx1">
                  <a:lumMod val="95000"/>
                  <a:lumOff val="5000"/>
                </a:schemeClr>
              </a:gs>
              <a:gs pos="100000">
                <a:schemeClr val="tx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id-ID">
              <a:solidFill>
                <a:schemeClr val="bg1"/>
              </a:solidFill>
            </a:endParaRPr>
          </a:p>
        </p:txBody>
      </p:sp>
      <p:sp>
        <p:nvSpPr>
          <p:cNvPr id="9" name="Oval 8"/>
          <p:cNvSpPr/>
          <p:nvPr userDrawn="1"/>
        </p:nvSpPr>
        <p:spPr>
          <a:xfrm>
            <a:off x="1343003" y="1996005"/>
            <a:ext cx="1635769" cy="163576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3966412" y="1996005"/>
            <a:ext cx="1635769" cy="163576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6589821" y="1996005"/>
            <a:ext cx="1635769" cy="163576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9213230" y="1996005"/>
            <a:ext cx="1635769" cy="163576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icture Placeholder 3"/>
          <p:cNvSpPr>
            <a:spLocks noGrp="1"/>
          </p:cNvSpPr>
          <p:nvPr>
            <p:ph type="pic" sz="quarter" idx="13"/>
          </p:nvPr>
        </p:nvSpPr>
        <p:spPr>
          <a:xfrm>
            <a:off x="1412251" y="2072764"/>
            <a:ext cx="1482252" cy="1482250"/>
          </a:xfrm>
          <a:prstGeom prst="ellipse">
            <a:avLst/>
          </a:prstGeom>
          <a:solidFill>
            <a:schemeClr val="bg1"/>
          </a:solidFill>
          <a:ln>
            <a:noFill/>
          </a:ln>
        </p:spPr>
        <p:txBody>
          <a:bodyPr>
            <a:normAutofit/>
          </a:bodyPr>
          <a:lstStyle>
            <a:lvl1pPr marL="0" indent="0">
              <a:buNone/>
              <a:defRPr sz="1200"/>
            </a:lvl1pPr>
          </a:lstStyle>
          <a:p>
            <a:endParaRPr lang="en-US"/>
          </a:p>
        </p:txBody>
      </p:sp>
      <p:sp>
        <p:nvSpPr>
          <p:cNvPr id="21" name="Picture Placeholder 3"/>
          <p:cNvSpPr>
            <a:spLocks noGrp="1"/>
          </p:cNvSpPr>
          <p:nvPr>
            <p:ph type="pic" sz="quarter" idx="14"/>
          </p:nvPr>
        </p:nvSpPr>
        <p:spPr>
          <a:xfrm>
            <a:off x="4043170" y="2072764"/>
            <a:ext cx="1482252" cy="1482250"/>
          </a:xfrm>
          <a:prstGeom prst="ellipse">
            <a:avLst/>
          </a:prstGeom>
          <a:solidFill>
            <a:schemeClr val="bg1"/>
          </a:solidFill>
          <a:ln>
            <a:noFill/>
          </a:ln>
        </p:spPr>
        <p:txBody>
          <a:bodyPr>
            <a:normAutofit/>
          </a:bodyPr>
          <a:lstStyle>
            <a:lvl1pPr marL="0" indent="0">
              <a:buNone/>
              <a:defRPr sz="1200"/>
            </a:lvl1pPr>
          </a:lstStyle>
          <a:p>
            <a:endParaRPr lang="en-US"/>
          </a:p>
        </p:txBody>
      </p:sp>
      <p:sp>
        <p:nvSpPr>
          <p:cNvPr id="22" name="Picture Placeholder 3"/>
          <p:cNvSpPr>
            <a:spLocks noGrp="1"/>
          </p:cNvSpPr>
          <p:nvPr>
            <p:ph type="pic" sz="quarter" idx="15"/>
          </p:nvPr>
        </p:nvSpPr>
        <p:spPr>
          <a:xfrm>
            <a:off x="6671148" y="2072764"/>
            <a:ext cx="1482252" cy="1482250"/>
          </a:xfrm>
          <a:prstGeom prst="ellipse">
            <a:avLst/>
          </a:prstGeom>
          <a:solidFill>
            <a:schemeClr val="bg1"/>
          </a:solidFill>
          <a:ln>
            <a:noFill/>
          </a:ln>
        </p:spPr>
        <p:txBody>
          <a:bodyPr>
            <a:normAutofit/>
          </a:bodyPr>
          <a:lstStyle>
            <a:lvl1pPr marL="0" indent="0">
              <a:buNone/>
              <a:defRPr sz="1200"/>
            </a:lvl1pPr>
          </a:lstStyle>
          <a:p>
            <a:endParaRPr lang="en-US"/>
          </a:p>
        </p:txBody>
      </p:sp>
      <p:sp>
        <p:nvSpPr>
          <p:cNvPr id="23" name="Picture Placeholder 3"/>
          <p:cNvSpPr>
            <a:spLocks noGrp="1"/>
          </p:cNvSpPr>
          <p:nvPr>
            <p:ph type="pic" sz="quarter" idx="16"/>
          </p:nvPr>
        </p:nvSpPr>
        <p:spPr>
          <a:xfrm>
            <a:off x="9299386" y="2072764"/>
            <a:ext cx="1482252" cy="1482250"/>
          </a:xfrm>
          <a:prstGeom prst="ellipse">
            <a:avLst/>
          </a:prstGeom>
          <a:solidFill>
            <a:schemeClr val="bg1"/>
          </a:solidFill>
          <a:ln>
            <a:noFill/>
          </a:ln>
        </p:spPr>
        <p:txBody>
          <a:bodyPr>
            <a:normAutofit/>
          </a:bodyPr>
          <a:lstStyle>
            <a:lvl1pPr marL="0" indent="0">
              <a:buNone/>
              <a:defRPr sz="1200"/>
            </a:lvl1pPr>
          </a:lstStyle>
          <a:p>
            <a:endParaRPr lang="en-US"/>
          </a:p>
        </p:txBody>
      </p:sp>
    </p:spTree>
    <p:extLst>
      <p:ext uri="{BB962C8B-B14F-4D97-AF65-F5344CB8AC3E}">
        <p14:creationId xmlns:p14="http://schemas.microsoft.com/office/powerpoint/2010/main" val="19883061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11" name="Date Placeholder 10"/>
          <p:cNvSpPr>
            <a:spLocks noGrp="1"/>
          </p:cNvSpPr>
          <p:nvPr>
            <p:ph type="dt" sz="half" idx="10"/>
          </p:nvPr>
        </p:nvSpPr>
        <p:spPr/>
        <p:txBody>
          <a:bodyPr/>
          <a:lstStyle/>
          <a:p>
            <a:fld id="{263A3799-AA52-4D2F-8629-54766EEEEA58}"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
        <p:nvSpPr>
          <p:cNvPr id="5" name="Rectangle 4"/>
          <p:cNvSpPr/>
          <p:nvPr userDrawn="1"/>
        </p:nvSpPr>
        <p:spPr>
          <a:xfrm flipH="1">
            <a:off x="1" y="0"/>
            <a:ext cx="12191999" cy="6315456"/>
          </a:xfrm>
          <a:prstGeom prst="rect">
            <a:avLst/>
          </a:prstGeom>
          <a:gradFill flip="none" rotWithShape="1">
            <a:gsLst>
              <a:gs pos="0">
                <a:schemeClr val="accent1"/>
              </a:gs>
              <a:gs pos="100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p:cNvGrpSpPr/>
          <p:nvPr userDrawn="1"/>
        </p:nvGrpSpPr>
        <p:grpSpPr>
          <a:xfrm>
            <a:off x="0" y="5109725"/>
            <a:ext cx="12191999" cy="1748277"/>
            <a:chOff x="947738" y="3194420"/>
            <a:chExt cx="7421562" cy="602088"/>
          </a:xfrm>
          <a:solidFill>
            <a:srgbClr val="111111"/>
          </a:solidFill>
        </p:grpSpPr>
        <p:sp>
          <p:nvSpPr>
            <p:cNvPr id="7" name="Freeform 6"/>
            <p:cNvSpPr>
              <a:spLocks/>
            </p:cNvSpPr>
            <p:nvPr/>
          </p:nvSpPr>
          <p:spPr bwMode="auto">
            <a:xfrm>
              <a:off x="4648200" y="3380583"/>
              <a:ext cx="3721100" cy="415925"/>
            </a:xfrm>
            <a:custGeom>
              <a:avLst/>
              <a:gdLst>
                <a:gd name="T0" fmla="*/ 2273 w 2344"/>
                <a:gd name="T1" fmla="*/ 189 h 262"/>
                <a:gd name="T2" fmla="*/ 2153 w 2344"/>
                <a:gd name="T3" fmla="*/ 189 h 262"/>
                <a:gd name="T4" fmla="*/ 2035 w 2344"/>
                <a:gd name="T5" fmla="*/ 172 h 262"/>
                <a:gd name="T6" fmla="*/ 1998 w 2344"/>
                <a:gd name="T7" fmla="*/ 177 h 262"/>
                <a:gd name="T8" fmla="*/ 1939 w 2344"/>
                <a:gd name="T9" fmla="*/ 165 h 262"/>
                <a:gd name="T10" fmla="*/ 1844 w 2344"/>
                <a:gd name="T11" fmla="*/ 172 h 262"/>
                <a:gd name="T12" fmla="*/ 1797 w 2344"/>
                <a:gd name="T13" fmla="*/ 177 h 262"/>
                <a:gd name="T14" fmla="*/ 1736 w 2344"/>
                <a:gd name="T15" fmla="*/ 165 h 262"/>
                <a:gd name="T16" fmla="*/ 1677 w 2344"/>
                <a:gd name="T17" fmla="*/ 142 h 262"/>
                <a:gd name="T18" fmla="*/ 1630 w 2344"/>
                <a:gd name="T19" fmla="*/ 154 h 262"/>
                <a:gd name="T20" fmla="*/ 1607 w 2344"/>
                <a:gd name="T21" fmla="*/ 154 h 262"/>
                <a:gd name="T22" fmla="*/ 1510 w 2344"/>
                <a:gd name="T23" fmla="*/ 165 h 262"/>
                <a:gd name="T24" fmla="*/ 1439 w 2344"/>
                <a:gd name="T25" fmla="*/ 154 h 262"/>
                <a:gd name="T26" fmla="*/ 1404 w 2344"/>
                <a:gd name="T27" fmla="*/ 165 h 262"/>
                <a:gd name="T28" fmla="*/ 1350 w 2344"/>
                <a:gd name="T29" fmla="*/ 154 h 262"/>
                <a:gd name="T30" fmla="*/ 1298 w 2344"/>
                <a:gd name="T31" fmla="*/ 142 h 262"/>
                <a:gd name="T32" fmla="*/ 1274 w 2344"/>
                <a:gd name="T33" fmla="*/ 165 h 262"/>
                <a:gd name="T34" fmla="*/ 1201 w 2344"/>
                <a:gd name="T35" fmla="*/ 154 h 262"/>
                <a:gd name="T36" fmla="*/ 1142 w 2344"/>
                <a:gd name="T37" fmla="*/ 165 h 262"/>
                <a:gd name="T38" fmla="*/ 1107 w 2344"/>
                <a:gd name="T39" fmla="*/ 165 h 262"/>
                <a:gd name="T40" fmla="*/ 1048 w 2344"/>
                <a:gd name="T41" fmla="*/ 149 h 262"/>
                <a:gd name="T42" fmla="*/ 940 w 2344"/>
                <a:gd name="T43" fmla="*/ 106 h 262"/>
                <a:gd name="T44" fmla="*/ 928 w 2344"/>
                <a:gd name="T45" fmla="*/ 95 h 262"/>
                <a:gd name="T46" fmla="*/ 869 w 2344"/>
                <a:gd name="T47" fmla="*/ 73 h 262"/>
                <a:gd name="T48" fmla="*/ 822 w 2344"/>
                <a:gd name="T49" fmla="*/ 59 h 262"/>
                <a:gd name="T50" fmla="*/ 784 w 2344"/>
                <a:gd name="T51" fmla="*/ 59 h 262"/>
                <a:gd name="T52" fmla="*/ 737 w 2344"/>
                <a:gd name="T53" fmla="*/ 69 h 262"/>
                <a:gd name="T54" fmla="*/ 690 w 2344"/>
                <a:gd name="T55" fmla="*/ 71 h 262"/>
                <a:gd name="T56" fmla="*/ 596 w 2344"/>
                <a:gd name="T57" fmla="*/ 71 h 262"/>
                <a:gd name="T58" fmla="*/ 560 w 2344"/>
                <a:gd name="T59" fmla="*/ 69 h 262"/>
                <a:gd name="T60" fmla="*/ 537 w 2344"/>
                <a:gd name="T61" fmla="*/ 83 h 262"/>
                <a:gd name="T62" fmla="*/ 499 w 2344"/>
                <a:gd name="T63" fmla="*/ 83 h 262"/>
                <a:gd name="T64" fmla="*/ 440 w 2344"/>
                <a:gd name="T65" fmla="*/ 3 h 262"/>
                <a:gd name="T66" fmla="*/ 428 w 2344"/>
                <a:gd name="T67" fmla="*/ 64 h 262"/>
                <a:gd name="T68" fmla="*/ 386 w 2344"/>
                <a:gd name="T69" fmla="*/ 106 h 262"/>
                <a:gd name="T70" fmla="*/ 381 w 2344"/>
                <a:gd name="T71" fmla="*/ 36 h 262"/>
                <a:gd name="T72" fmla="*/ 358 w 2344"/>
                <a:gd name="T73" fmla="*/ 12 h 262"/>
                <a:gd name="T74" fmla="*/ 292 w 2344"/>
                <a:gd name="T75" fmla="*/ 24 h 262"/>
                <a:gd name="T76" fmla="*/ 249 w 2344"/>
                <a:gd name="T77" fmla="*/ 154 h 262"/>
                <a:gd name="T78" fmla="*/ 238 w 2344"/>
                <a:gd name="T79" fmla="*/ 106 h 262"/>
                <a:gd name="T80" fmla="*/ 167 w 2344"/>
                <a:gd name="T81" fmla="*/ 106 h 262"/>
                <a:gd name="T82" fmla="*/ 148 w 2344"/>
                <a:gd name="T83" fmla="*/ 130 h 262"/>
                <a:gd name="T84" fmla="*/ 120 w 2344"/>
                <a:gd name="T85" fmla="*/ 130 h 262"/>
                <a:gd name="T86" fmla="*/ 108 w 2344"/>
                <a:gd name="T87" fmla="*/ 71 h 262"/>
                <a:gd name="T88" fmla="*/ 73 w 2344"/>
                <a:gd name="T89" fmla="*/ 48 h 262"/>
                <a:gd name="T90" fmla="*/ 0 w 2344"/>
                <a:gd name="T91" fmla="*/ 12 h 262"/>
                <a:gd name="T92" fmla="*/ 108 w 2344"/>
                <a:gd name="T93" fmla="*/ 262 h 262"/>
                <a:gd name="T94" fmla="*/ 238 w 2344"/>
                <a:gd name="T95" fmla="*/ 262 h 262"/>
                <a:gd name="T96" fmla="*/ 381 w 2344"/>
                <a:gd name="T97" fmla="*/ 262 h 262"/>
                <a:gd name="T98" fmla="*/ 511 w 2344"/>
                <a:gd name="T99" fmla="*/ 262 h 262"/>
                <a:gd name="T100" fmla="*/ 655 w 2344"/>
                <a:gd name="T101" fmla="*/ 262 h 262"/>
                <a:gd name="T102" fmla="*/ 787 w 2344"/>
                <a:gd name="T103" fmla="*/ 262 h 262"/>
                <a:gd name="T104" fmla="*/ 928 w 2344"/>
                <a:gd name="T105" fmla="*/ 262 h 262"/>
                <a:gd name="T106" fmla="*/ 1060 w 2344"/>
                <a:gd name="T107" fmla="*/ 262 h 262"/>
                <a:gd name="T108" fmla="*/ 1201 w 2344"/>
                <a:gd name="T109" fmla="*/ 262 h 262"/>
                <a:gd name="T110" fmla="*/ 1333 w 2344"/>
                <a:gd name="T111" fmla="*/ 262 h 262"/>
                <a:gd name="T112" fmla="*/ 1475 w 2344"/>
                <a:gd name="T113" fmla="*/ 262 h 262"/>
                <a:gd name="T114" fmla="*/ 1607 w 2344"/>
                <a:gd name="T115" fmla="*/ 262 h 262"/>
                <a:gd name="T116" fmla="*/ 1748 w 2344"/>
                <a:gd name="T117" fmla="*/ 262 h 262"/>
                <a:gd name="T118" fmla="*/ 1880 w 2344"/>
                <a:gd name="T119" fmla="*/ 262 h 262"/>
                <a:gd name="T120" fmla="*/ 2024 w 2344"/>
                <a:gd name="T121" fmla="*/ 262 h 262"/>
                <a:gd name="T122" fmla="*/ 2153 w 2344"/>
                <a:gd name="T123" fmla="*/ 262 h 262"/>
                <a:gd name="T124" fmla="*/ 2320 w 2344"/>
                <a:gd name="T125"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44" h="262">
                  <a:moveTo>
                    <a:pt x="2320" y="201"/>
                  </a:moveTo>
                  <a:lnTo>
                    <a:pt x="2320" y="201"/>
                  </a:lnTo>
                  <a:lnTo>
                    <a:pt x="2320" y="196"/>
                  </a:lnTo>
                  <a:lnTo>
                    <a:pt x="2320" y="191"/>
                  </a:lnTo>
                  <a:lnTo>
                    <a:pt x="2320" y="189"/>
                  </a:lnTo>
                  <a:lnTo>
                    <a:pt x="2320" y="189"/>
                  </a:lnTo>
                  <a:lnTo>
                    <a:pt x="2313" y="189"/>
                  </a:lnTo>
                  <a:lnTo>
                    <a:pt x="2309" y="189"/>
                  </a:lnTo>
                  <a:lnTo>
                    <a:pt x="2309" y="189"/>
                  </a:lnTo>
                  <a:lnTo>
                    <a:pt x="2297" y="189"/>
                  </a:lnTo>
                  <a:lnTo>
                    <a:pt x="2297" y="189"/>
                  </a:lnTo>
                  <a:lnTo>
                    <a:pt x="2285" y="189"/>
                  </a:lnTo>
                  <a:lnTo>
                    <a:pt x="2285" y="189"/>
                  </a:lnTo>
                  <a:lnTo>
                    <a:pt x="2273" y="189"/>
                  </a:lnTo>
                  <a:lnTo>
                    <a:pt x="2273" y="189"/>
                  </a:lnTo>
                  <a:lnTo>
                    <a:pt x="2262" y="189"/>
                  </a:lnTo>
                  <a:lnTo>
                    <a:pt x="2262" y="189"/>
                  </a:lnTo>
                  <a:lnTo>
                    <a:pt x="2250" y="189"/>
                  </a:lnTo>
                  <a:lnTo>
                    <a:pt x="2250" y="189"/>
                  </a:lnTo>
                  <a:lnTo>
                    <a:pt x="2224" y="189"/>
                  </a:lnTo>
                  <a:lnTo>
                    <a:pt x="2224" y="189"/>
                  </a:lnTo>
                  <a:lnTo>
                    <a:pt x="2200" y="189"/>
                  </a:lnTo>
                  <a:lnTo>
                    <a:pt x="2200" y="189"/>
                  </a:lnTo>
                  <a:lnTo>
                    <a:pt x="2188" y="189"/>
                  </a:lnTo>
                  <a:lnTo>
                    <a:pt x="2188" y="189"/>
                  </a:lnTo>
                  <a:lnTo>
                    <a:pt x="2165" y="189"/>
                  </a:lnTo>
                  <a:lnTo>
                    <a:pt x="2165" y="189"/>
                  </a:lnTo>
                  <a:lnTo>
                    <a:pt x="2153" y="189"/>
                  </a:lnTo>
                  <a:lnTo>
                    <a:pt x="2153" y="189"/>
                  </a:lnTo>
                  <a:lnTo>
                    <a:pt x="2130" y="189"/>
                  </a:lnTo>
                  <a:lnTo>
                    <a:pt x="2130" y="189"/>
                  </a:lnTo>
                  <a:lnTo>
                    <a:pt x="2118" y="189"/>
                  </a:lnTo>
                  <a:lnTo>
                    <a:pt x="2118" y="189"/>
                  </a:lnTo>
                  <a:lnTo>
                    <a:pt x="2094" y="189"/>
                  </a:lnTo>
                  <a:lnTo>
                    <a:pt x="2094" y="189"/>
                  </a:lnTo>
                  <a:lnTo>
                    <a:pt x="2047" y="189"/>
                  </a:lnTo>
                  <a:lnTo>
                    <a:pt x="2047" y="189"/>
                  </a:lnTo>
                  <a:lnTo>
                    <a:pt x="2035" y="189"/>
                  </a:lnTo>
                  <a:lnTo>
                    <a:pt x="2035" y="189"/>
                  </a:lnTo>
                  <a:lnTo>
                    <a:pt x="2035" y="177"/>
                  </a:lnTo>
                  <a:lnTo>
                    <a:pt x="2035" y="177"/>
                  </a:lnTo>
                  <a:lnTo>
                    <a:pt x="2035" y="172"/>
                  </a:lnTo>
                  <a:lnTo>
                    <a:pt x="2035" y="165"/>
                  </a:lnTo>
                  <a:lnTo>
                    <a:pt x="2035" y="165"/>
                  </a:lnTo>
                  <a:lnTo>
                    <a:pt x="2028" y="165"/>
                  </a:lnTo>
                  <a:lnTo>
                    <a:pt x="2024" y="165"/>
                  </a:lnTo>
                  <a:lnTo>
                    <a:pt x="2024" y="165"/>
                  </a:lnTo>
                  <a:lnTo>
                    <a:pt x="2012" y="165"/>
                  </a:lnTo>
                  <a:lnTo>
                    <a:pt x="2012" y="165"/>
                  </a:lnTo>
                  <a:lnTo>
                    <a:pt x="2005" y="165"/>
                  </a:lnTo>
                  <a:lnTo>
                    <a:pt x="1998" y="165"/>
                  </a:lnTo>
                  <a:lnTo>
                    <a:pt x="1998" y="165"/>
                  </a:lnTo>
                  <a:lnTo>
                    <a:pt x="1998" y="168"/>
                  </a:lnTo>
                  <a:lnTo>
                    <a:pt x="1998" y="172"/>
                  </a:lnTo>
                  <a:lnTo>
                    <a:pt x="1998" y="177"/>
                  </a:lnTo>
                  <a:lnTo>
                    <a:pt x="1998" y="177"/>
                  </a:lnTo>
                  <a:lnTo>
                    <a:pt x="1993" y="180"/>
                  </a:lnTo>
                  <a:lnTo>
                    <a:pt x="1986" y="177"/>
                  </a:lnTo>
                  <a:lnTo>
                    <a:pt x="1986" y="177"/>
                  </a:lnTo>
                  <a:lnTo>
                    <a:pt x="1986" y="165"/>
                  </a:lnTo>
                  <a:lnTo>
                    <a:pt x="1986" y="165"/>
                  </a:lnTo>
                  <a:lnTo>
                    <a:pt x="1981" y="165"/>
                  </a:lnTo>
                  <a:lnTo>
                    <a:pt x="1974" y="165"/>
                  </a:lnTo>
                  <a:lnTo>
                    <a:pt x="1974" y="165"/>
                  </a:lnTo>
                  <a:lnTo>
                    <a:pt x="1962" y="165"/>
                  </a:lnTo>
                  <a:lnTo>
                    <a:pt x="1962" y="165"/>
                  </a:lnTo>
                  <a:lnTo>
                    <a:pt x="1951" y="165"/>
                  </a:lnTo>
                  <a:lnTo>
                    <a:pt x="1951" y="165"/>
                  </a:lnTo>
                  <a:lnTo>
                    <a:pt x="1939" y="165"/>
                  </a:lnTo>
                  <a:lnTo>
                    <a:pt x="1939" y="165"/>
                  </a:lnTo>
                  <a:lnTo>
                    <a:pt x="1934" y="165"/>
                  </a:lnTo>
                  <a:lnTo>
                    <a:pt x="1927" y="165"/>
                  </a:lnTo>
                  <a:lnTo>
                    <a:pt x="1927" y="165"/>
                  </a:lnTo>
                  <a:lnTo>
                    <a:pt x="1927" y="168"/>
                  </a:lnTo>
                  <a:lnTo>
                    <a:pt x="1927" y="172"/>
                  </a:lnTo>
                  <a:lnTo>
                    <a:pt x="1927" y="177"/>
                  </a:lnTo>
                  <a:lnTo>
                    <a:pt x="1927" y="177"/>
                  </a:lnTo>
                  <a:lnTo>
                    <a:pt x="1915" y="177"/>
                  </a:lnTo>
                  <a:lnTo>
                    <a:pt x="1915" y="177"/>
                  </a:lnTo>
                  <a:lnTo>
                    <a:pt x="1892" y="177"/>
                  </a:lnTo>
                  <a:lnTo>
                    <a:pt x="1892" y="177"/>
                  </a:lnTo>
                  <a:lnTo>
                    <a:pt x="1844" y="177"/>
                  </a:lnTo>
                  <a:lnTo>
                    <a:pt x="1844" y="177"/>
                  </a:lnTo>
                  <a:lnTo>
                    <a:pt x="1844" y="172"/>
                  </a:lnTo>
                  <a:lnTo>
                    <a:pt x="1844" y="168"/>
                  </a:lnTo>
                  <a:lnTo>
                    <a:pt x="1844" y="165"/>
                  </a:lnTo>
                  <a:lnTo>
                    <a:pt x="1844" y="165"/>
                  </a:lnTo>
                  <a:lnTo>
                    <a:pt x="1837" y="165"/>
                  </a:lnTo>
                  <a:lnTo>
                    <a:pt x="1833" y="165"/>
                  </a:lnTo>
                  <a:lnTo>
                    <a:pt x="1833" y="165"/>
                  </a:lnTo>
                  <a:lnTo>
                    <a:pt x="1821" y="165"/>
                  </a:lnTo>
                  <a:lnTo>
                    <a:pt x="1821" y="165"/>
                  </a:lnTo>
                  <a:lnTo>
                    <a:pt x="1821" y="177"/>
                  </a:lnTo>
                  <a:lnTo>
                    <a:pt x="1821" y="177"/>
                  </a:lnTo>
                  <a:lnTo>
                    <a:pt x="1809" y="177"/>
                  </a:lnTo>
                  <a:lnTo>
                    <a:pt x="1809" y="177"/>
                  </a:lnTo>
                  <a:lnTo>
                    <a:pt x="1797" y="177"/>
                  </a:lnTo>
                  <a:lnTo>
                    <a:pt x="1797" y="177"/>
                  </a:lnTo>
                  <a:lnTo>
                    <a:pt x="1774" y="177"/>
                  </a:lnTo>
                  <a:lnTo>
                    <a:pt x="1774" y="177"/>
                  </a:lnTo>
                  <a:lnTo>
                    <a:pt x="1774" y="172"/>
                  </a:lnTo>
                  <a:lnTo>
                    <a:pt x="1774" y="165"/>
                  </a:lnTo>
                  <a:lnTo>
                    <a:pt x="1774" y="165"/>
                  </a:lnTo>
                  <a:lnTo>
                    <a:pt x="1767" y="165"/>
                  </a:lnTo>
                  <a:lnTo>
                    <a:pt x="1762" y="165"/>
                  </a:lnTo>
                  <a:lnTo>
                    <a:pt x="1762" y="165"/>
                  </a:lnTo>
                  <a:lnTo>
                    <a:pt x="1755" y="168"/>
                  </a:lnTo>
                  <a:lnTo>
                    <a:pt x="1748" y="165"/>
                  </a:lnTo>
                  <a:lnTo>
                    <a:pt x="1748" y="165"/>
                  </a:lnTo>
                  <a:lnTo>
                    <a:pt x="1743" y="165"/>
                  </a:lnTo>
                  <a:lnTo>
                    <a:pt x="1736" y="165"/>
                  </a:lnTo>
                  <a:lnTo>
                    <a:pt x="1736" y="165"/>
                  </a:lnTo>
                  <a:lnTo>
                    <a:pt x="1731" y="168"/>
                  </a:lnTo>
                  <a:lnTo>
                    <a:pt x="1724" y="165"/>
                  </a:lnTo>
                  <a:lnTo>
                    <a:pt x="1724" y="165"/>
                  </a:lnTo>
                  <a:lnTo>
                    <a:pt x="1724" y="161"/>
                  </a:lnTo>
                  <a:lnTo>
                    <a:pt x="1724" y="154"/>
                  </a:lnTo>
                  <a:lnTo>
                    <a:pt x="1724" y="154"/>
                  </a:lnTo>
                  <a:lnTo>
                    <a:pt x="1724" y="142"/>
                  </a:lnTo>
                  <a:lnTo>
                    <a:pt x="1724" y="142"/>
                  </a:lnTo>
                  <a:lnTo>
                    <a:pt x="1701" y="142"/>
                  </a:lnTo>
                  <a:lnTo>
                    <a:pt x="1701" y="142"/>
                  </a:lnTo>
                  <a:lnTo>
                    <a:pt x="1689" y="142"/>
                  </a:lnTo>
                  <a:lnTo>
                    <a:pt x="1689" y="142"/>
                  </a:lnTo>
                  <a:lnTo>
                    <a:pt x="1684" y="142"/>
                  </a:lnTo>
                  <a:lnTo>
                    <a:pt x="1677" y="142"/>
                  </a:lnTo>
                  <a:lnTo>
                    <a:pt x="1677" y="142"/>
                  </a:lnTo>
                  <a:lnTo>
                    <a:pt x="1677" y="149"/>
                  </a:lnTo>
                  <a:lnTo>
                    <a:pt x="1677" y="154"/>
                  </a:lnTo>
                  <a:lnTo>
                    <a:pt x="1677" y="154"/>
                  </a:lnTo>
                  <a:lnTo>
                    <a:pt x="1672" y="154"/>
                  </a:lnTo>
                  <a:lnTo>
                    <a:pt x="1665" y="154"/>
                  </a:lnTo>
                  <a:lnTo>
                    <a:pt x="1665" y="154"/>
                  </a:lnTo>
                  <a:lnTo>
                    <a:pt x="1654" y="154"/>
                  </a:lnTo>
                  <a:lnTo>
                    <a:pt x="1654" y="154"/>
                  </a:lnTo>
                  <a:lnTo>
                    <a:pt x="1642" y="154"/>
                  </a:lnTo>
                  <a:lnTo>
                    <a:pt x="1642" y="154"/>
                  </a:lnTo>
                  <a:lnTo>
                    <a:pt x="1635" y="154"/>
                  </a:lnTo>
                  <a:lnTo>
                    <a:pt x="1630" y="154"/>
                  </a:lnTo>
                  <a:lnTo>
                    <a:pt x="1630" y="154"/>
                  </a:lnTo>
                  <a:lnTo>
                    <a:pt x="1630" y="151"/>
                  </a:lnTo>
                  <a:lnTo>
                    <a:pt x="1630" y="149"/>
                  </a:lnTo>
                  <a:lnTo>
                    <a:pt x="1630" y="142"/>
                  </a:lnTo>
                  <a:lnTo>
                    <a:pt x="1630" y="142"/>
                  </a:lnTo>
                  <a:lnTo>
                    <a:pt x="1628" y="142"/>
                  </a:lnTo>
                  <a:lnTo>
                    <a:pt x="1625" y="142"/>
                  </a:lnTo>
                  <a:lnTo>
                    <a:pt x="1618" y="142"/>
                  </a:lnTo>
                  <a:lnTo>
                    <a:pt x="1618" y="142"/>
                  </a:lnTo>
                  <a:lnTo>
                    <a:pt x="1618" y="149"/>
                  </a:lnTo>
                  <a:lnTo>
                    <a:pt x="1618" y="154"/>
                  </a:lnTo>
                  <a:lnTo>
                    <a:pt x="1618" y="154"/>
                  </a:lnTo>
                  <a:lnTo>
                    <a:pt x="1614" y="154"/>
                  </a:lnTo>
                  <a:lnTo>
                    <a:pt x="1607" y="154"/>
                  </a:lnTo>
                  <a:lnTo>
                    <a:pt x="1607" y="154"/>
                  </a:lnTo>
                  <a:lnTo>
                    <a:pt x="1595" y="154"/>
                  </a:lnTo>
                  <a:lnTo>
                    <a:pt x="1595" y="154"/>
                  </a:lnTo>
                  <a:lnTo>
                    <a:pt x="1583" y="154"/>
                  </a:lnTo>
                  <a:lnTo>
                    <a:pt x="1583" y="154"/>
                  </a:lnTo>
                  <a:lnTo>
                    <a:pt x="1571" y="154"/>
                  </a:lnTo>
                  <a:lnTo>
                    <a:pt x="1571" y="154"/>
                  </a:lnTo>
                  <a:lnTo>
                    <a:pt x="1564" y="154"/>
                  </a:lnTo>
                  <a:lnTo>
                    <a:pt x="1559" y="154"/>
                  </a:lnTo>
                  <a:lnTo>
                    <a:pt x="1559" y="154"/>
                  </a:lnTo>
                  <a:lnTo>
                    <a:pt x="1557" y="156"/>
                  </a:lnTo>
                  <a:lnTo>
                    <a:pt x="1559" y="161"/>
                  </a:lnTo>
                  <a:lnTo>
                    <a:pt x="1559" y="165"/>
                  </a:lnTo>
                  <a:lnTo>
                    <a:pt x="1559" y="165"/>
                  </a:lnTo>
                  <a:lnTo>
                    <a:pt x="1510" y="165"/>
                  </a:lnTo>
                  <a:lnTo>
                    <a:pt x="1510" y="165"/>
                  </a:lnTo>
                  <a:lnTo>
                    <a:pt x="1498" y="165"/>
                  </a:lnTo>
                  <a:lnTo>
                    <a:pt x="1498" y="165"/>
                  </a:lnTo>
                  <a:lnTo>
                    <a:pt x="1475" y="165"/>
                  </a:lnTo>
                  <a:lnTo>
                    <a:pt x="1475" y="165"/>
                  </a:lnTo>
                  <a:lnTo>
                    <a:pt x="1475" y="161"/>
                  </a:lnTo>
                  <a:lnTo>
                    <a:pt x="1477" y="156"/>
                  </a:lnTo>
                  <a:lnTo>
                    <a:pt x="1475" y="154"/>
                  </a:lnTo>
                  <a:lnTo>
                    <a:pt x="1475" y="154"/>
                  </a:lnTo>
                  <a:lnTo>
                    <a:pt x="1463" y="154"/>
                  </a:lnTo>
                  <a:lnTo>
                    <a:pt x="1463" y="154"/>
                  </a:lnTo>
                  <a:lnTo>
                    <a:pt x="1451" y="154"/>
                  </a:lnTo>
                  <a:lnTo>
                    <a:pt x="1451" y="154"/>
                  </a:lnTo>
                  <a:lnTo>
                    <a:pt x="1439" y="154"/>
                  </a:lnTo>
                  <a:lnTo>
                    <a:pt x="1439" y="154"/>
                  </a:lnTo>
                  <a:lnTo>
                    <a:pt x="1427" y="154"/>
                  </a:lnTo>
                  <a:lnTo>
                    <a:pt x="1427" y="154"/>
                  </a:lnTo>
                  <a:lnTo>
                    <a:pt x="1423" y="154"/>
                  </a:lnTo>
                  <a:lnTo>
                    <a:pt x="1416" y="154"/>
                  </a:lnTo>
                  <a:lnTo>
                    <a:pt x="1416" y="154"/>
                  </a:lnTo>
                  <a:lnTo>
                    <a:pt x="1416" y="156"/>
                  </a:lnTo>
                  <a:lnTo>
                    <a:pt x="1416" y="161"/>
                  </a:lnTo>
                  <a:lnTo>
                    <a:pt x="1416" y="165"/>
                  </a:lnTo>
                  <a:lnTo>
                    <a:pt x="1416" y="165"/>
                  </a:lnTo>
                  <a:lnTo>
                    <a:pt x="1413" y="168"/>
                  </a:lnTo>
                  <a:lnTo>
                    <a:pt x="1411" y="165"/>
                  </a:lnTo>
                  <a:lnTo>
                    <a:pt x="1404" y="165"/>
                  </a:lnTo>
                  <a:lnTo>
                    <a:pt x="1404" y="165"/>
                  </a:lnTo>
                  <a:lnTo>
                    <a:pt x="1404" y="161"/>
                  </a:lnTo>
                  <a:lnTo>
                    <a:pt x="1404" y="156"/>
                  </a:lnTo>
                  <a:lnTo>
                    <a:pt x="1404" y="154"/>
                  </a:lnTo>
                  <a:lnTo>
                    <a:pt x="1404" y="154"/>
                  </a:lnTo>
                  <a:lnTo>
                    <a:pt x="1399" y="154"/>
                  </a:lnTo>
                  <a:lnTo>
                    <a:pt x="1392" y="154"/>
                  </a:lnTo>
                  <a:lnTo>
                    <a:pt x="1392" y="154"/>
                  </a:lnTo>
                  <a:lnTo>
                    <a:pt x="1380" y="154"/>
                  </a:lnTo>
                  <a:lnTo>
                    <a:pt x="1380" y="154"/>
                  </a:lnTo>
                  <a:lnTo>
                    <a:pt x="1369" y="154"/>
                  </a:lnTo>
                  <a:lnTo>
                    <a:pt x="1369" y="154"/>
                  </a:lnTo>
                  <a:lnTo>
                    <a:pt x="1357" y="154"/>
                  </a:lnTo>
                  <a:lnTo>
                    <a:pt x="1357" y="154"/>
                  </a:lnTo>
                  <a:lnTo>
                    <a:pt x="1350" y="154"/>
                  </a:lnTo>
                  <a:lnTo>
                    <a:pt x="1345" y="154"/>
                  </a:lnTo>
                  <a:lnTo>
                    <a:pt x="1345" y="154"/>
                  </a:lnTo>
                  <a:lnTo>
                    <a:pt x="1345" y="149"/>
                  </a:lnTo>
                  <a:lnTo>
                    <a:pt x="1345" y="142"/>
                  </a:lnTo>
                  <a:lnTo>
                    <a:pt x="1345" y="142"/>
                  </a:lnTo>
                  <a:lnTo>
                    <a:pt x="1343" y="142"/>
                  </a:lnTo>
                  <a:lnTo>
                    <a:pt x="1338" y="142"/>
                  </a:lnTo>
                  <a:lnTo>
                    <a:pt x="1333" y="142"/>
                  </a:lnTo>
                  <a:lnTo>
                    <a:pt x="1333" y="142"/>
                  </a:lnTo>
                  <a:lnTo>
                    <a:pt x="1310" y="142"/>
                  </a:lnTo>
                  <a:lnTo>
                    <a:pt x="1310" y="142"/>
                  </a:lnTo>
                  <a:lnTo>
                    <a:pt x="1303" y="142"/>
                  </a:lnTo>
                  <a:lnTo>
                    <a:pt x="1300" y="142"/>
                  </a:lnTo>
                  <a:lnTo>
                    <a:pt x="1298" y="142"/>
                  </a:lnTo>
                  <a:lnTo>
                    <a:pt x="1298" y="142"/>
                  </a:lnTo>
                  <a:lnTo>
                    <a:pt x="1298" y="149"/>
                  </a:lnTo>
                  <a:lnTo>
                    <a:pt x="1298" y="154"/>
                  </a:lnTo>
                  <a:lnTo>
                    <a:pt x="1298" y="154"/>
                  </a:lnTo>
                  <a:lnTo>
                    <a:pt x="1291" y="154"/>
                  </a:lnTo>
                  <a:lnTo>
                    <a:pt x="1286" y="154"/>
                  </a:lnTo>
                  <a:lnTo>
                    <a:pt x="1286" y="154"/>
                  </a:lnTo>
                  <a:lnTo>
                    <a:pt x="1279" y="154"/>
                  </a:lnTo>
                  <a:lnTo>
                    <a:pt x="1274" y="154"/>
                  </a:lnTo>
                  <a:lnTo>
                    <a:pt x="1274" y="154"/>
                  </a:lnTo>
                  <a:lnTo>
                    <a:pt x="1272" y="156"/>
                  </a:lnTo>
                  <a:lnTo>
                    <a:pt x="1272" y="161"/>
                  </a:lnTo>
                  <a:lnTo>
                    <a:pt x="1274" y="165"/>
                  </a:lnTo>
                  <a:lnTo>
                    <a:pt x="1274" y="165"/>
                  </a:lnTo>
                  <a:lnTo>
                    <a:pt x="1248" y="165"/>
                  </a:lnTo>
                  <a:lnTo>
                    <a:pt x="1248" y="165"/>
                  </a:lnTo>
                  <a:lnTo>
                    <a:pt x="1225" y="165"/>
                  </a:lnTo>
                  <a:lnTo>
                    <a:pt x="1225" y="165"/>
                  </a:lnTo>
                  <a:lnTo>
                    <a:pt x="1225" y="161"/>
                  </a:lnTo>
                  <a:lnTo>
                    <a:pt x="1227" y="156"/>
                  </a:lnTo>
                  <a:lnTo>
                    <a:pt x="1225" y="154"/>
                  </a:lnTo>
                  <a:lnTo>
                    <a:pt x="1225" y="154"/>
                  </a:lnTo>
                  <a:lnTo>
                    <a:pt x="1220" y="154"/>
                  </a:lnTo>
                  <a:lnTo>
                    <a:pt x="1213" y="154"/>
                  </a:lnTo>
                  <a:lnTo>
                    <a:pt x="1213" y="154"/>
                  </a:lnTo>
                  <a:lnTo>
                    <a:pt x="1208" y="154"/>
                  </a:lnTo>
                  <a:lnTo>
                    <a:pt x="1201" y="154"/>
                  </a:lnTo>
                  <a:lnTo>
                    <a:pt x="1201" y="154"/>
                  </a:lnTo>
                  <a:lnTo>
                    <a:pt x="1201" y="161"/>
                  </a:lnTo>
                  <a:lnTo>
                    <a:pt x="1201" y="165"/>
                  </a:lnTo>
                  <a:lnTo>
                    <a:pt x="1201" y="165"/>
                  </a:lnTo>
                  <a:lnTo>
                    <a:pt x="1199" y="168"/>
                  </a:lnTo>
                  <a:lnTo>
                    <a:pt x="1197" y="165"/>
                  </a:lnTo>
                  <a:lnTo>
                    <a:pt x="1189" y="165"/>
                  </a:lnTo>
                  <a:lnTo>
                    <a:pt x="1189" y="165"/>
                  </a:lnTo>
                  <a:lnTo>
                    <a:pt x="1178" y="165"/>
                  </a:lnTo>
                  <a:lnTo>
                    <a:pt x="1178" y="165"/>
                  </a:lnTo>
                  <a:lnTo>
                    <a:pt x="1154" y="165"/>
                  </a:lnTo>
                  <a:lnTo>
                    <a:pt x="1154" y="165"/>
                  </a:lnTo>
                  <a:lnTo>
                    <a:pt x="1147" y="165"/>
                  </a:lnTo>
                  <a:lnTo>
                    <a:pt x="1142" y="165"/>
                  </a:lnTo>
                  <a:lnTo>
                    <a:pt x="1142" y="165"/>
                  </a:lnTo>
                  <a:lnTo>
                    <a:pt x="1142" y="163"/>
                  </a:lnTo>
                  <a:lnTo>
                    <a:pt x="1142" y="161"/>
                  </a:lnTo>
                  <a:lnTo>
                    <a:pt x="1142" y="154"/>
                  </a:lnTo>
                  <a:lnTo>
                    <a:pt x="1142" y="154"/>
                  </a:lnTo>
                  <a:lnTo>
                    <a:pt x="1138" y="154"/>
                  </a:lnTo>
                  <a:lnTo>
                    <a:pt x="1131" y="154"/>
                  </a:lnTo>
                  <a:lnTo>
                    <a:pt x="1131" y="154"/>
                  </a:lnTo>
                  <a:lnTo>
                    <a:pt x="1131" y="165"/>
                  </a:lnTo>
                  <a:lnTo>
                    <a:pt x="1131" y="165"/>
                  </a:lnTo>
                  <a:lnTo>
                    <a:pt x="1126" y="165"/>
                  </a:lnTo>
                  <a:lnTo>
                    <a:pt x="1119" y="165"/>
                  </a:lnTo>
                  <a:lnTo>
                    <a:pt x="1119" y="165"/>
                  </a:lnTo>
                  <a:lnTo>
                    <a:pt x="1107" y="165"/>
                  </a:lnTo>
                  <a:lnTo>
                    <a:pt x="1107" y="165"/>
                  </a:lnTo>
                  <a:lnTo>
                    <a:pt x="1095" y="165"/>
                  </a:lnTo>
                  <a:lnTo>
                    <a:pt x="1095" y="165"/>
                  </a:lnTo>
                  <a:lnTo>
                    <a:pt x="1072" y="165"/>
                  </a:lnTo>
                  <a:lnTo>
                    <a:pt x="1072" y="165"/>
                  </a:lnTo>
                  <a:lnTo>
                    <a:pt x="1060" y="165"/>
                  </a:lnTo>
                  <a:lnTo>
                    <a:pt x="1060" y="165"/>
                  </a:lnTo>
                  <a:lnTo>
                    <a:pt x="1060" y="161"/>
                  </a:lnTo>
                  <a:lnTo>
                    <a:pt x="1060" y="154"/>
                  </a:lnTo>
                  <a:lnTo>
                    <a:pt x="1060" y="154"/>
                  </a:lnTo>
                  <a:lnTo>
                    <a:pt x="1058" y="154"/>
                  </a:lnTo>
                  <a:lnTo>
                    <a:pt x="1053" y="154"/>
                  </a:lnTo>
                  <a:lnTo>
                    <a:pt x="1048" y="154"/>
                  </a:lnTo>
                  <a:lnTo>
                    <a:pt x="1048" y="154"/>
                  </a:lnTo>
                  <a:lnTo>
                    <a:pt x="1048" y="149"/>
                  </a:lnTo>
                  <a:lnTo>
                    <a:pt x="1048" y="142"/>
                  </a:lnTo>
                  <a:lnTo>
                    <a:pt x="1048" y="142"/>
                  </a:lnTo>
                  <a:lnTo>
                    <a:pt x="1041" y="142"/>
                  </a:lnTo>
                  <a:lnTo>
                    <a:pt x="1036" y="142"/>
                  </a:lnTo>
                  <a:lnTo>
                    <a:pt x="1036" y="142"/>
                  </a:lnTo>
                  <a:lnTo>
                    <a:pt x="1010" y="142"/>
                  </a:lnTo>
                  <a:lnTo>
                    <a:pt x="1010" y="142"/>
                  </a:lnTo>
                  <a:lnTo>
                    <a:pt x="1010" y="130"/>
                  </a:lnTo>
                  <a:lnTo>
                    <a:pt x="1010" y="130"/>
                  </a:lnTo>
                  <a:lnTo>
                    <a:pt x="1010" y="106"/>
                  </a:lnTo>
                  <a:lnTo>
                    <a:pt x="1010" y="106"/>
                  </a:lnTo>
                  <a:lnTo>
                    <a:pt x="987" y="106"/>
                  </a:lnTo>
                  <a:lnTo>
                    <a:pt x="987" y="106"/>
                  </a:lnTo>
                  <a:lnTo>
                    <a:pt x="940" y="106"/>
                  </a:lnTo>
                  <a:lnTo>
                    <a:pt x="940" y="106"/>
                  </a:lnTo>
                  <a:lnTo>
                    <a:pt x="940" y="118"/>
                  </a:lnTo>
                  <a:lnTo>
                    <a:pt x="940" y="118"/>
                  </a:lnTo>
                  <a:lnTo>
                    <a:pt x="940" y="130"/>
                  </a:lnTo>
                  <a:lnTo>
                    <a:pt x="940" y="130"/>
                  </a:lnTo>
                  <a:lnTo>
                    <a:pt x="940" y="137"/>
                  </a:lnTo>
                  <a:lnTo>
                    <a:pt x="940" y="142"/>
                  </a:lnTo>
                  <a:lnTo>
                    <a:pt x="940" y="142"/>
                  </a:lnTo>
                  <a:lnTo>
                    <a:pt x="937" y="144"/>
                  </a:lnTo>
                  <a:lnTo>
                    <a:pt x="935" y="142"/>
                  </a:lnTo>
                  <a:lnTo>
                    <a:pt x="928" y="142"/>
                  </a:lnTo>
                  <a:lnTo>
                    <a:pt x="928" y="142"/>
                  </a:lnTo>
                  <a:lnTo>
                    <a:pt x="928" y="95"/>
                  </a:lnTo>
                  <a:lnTo>
                    <a:pt x="928" y="95"/>
                  </a:lnTo>
                  <a:lnTo>
                    <a:pt x="928" y="71"/>
                  </a:lnTo>
                  <a:lnTo>
                    <a:pt x="928" y="71"/>
                  </a:lnTo>
                  <a:lnTo>
                    <a:pt x="916" y="71"/>
                  </a:lnTo>
                  <a:lnTo>
                    <a:pt x="916" y="71"/>
                  </a:lnTo>
                  <a:lnTo>
                    <a:pt x="904" y="71"/>
                  </a:lnTo>
                  <a:lnTo>
                    <a:pt x="904" y="71"/>
                  </a:lnTo>
                  <a:lnTo>
                    <a:pt x="893" y="71"/>
                  </a:lnTo>
                  <a:lnTo>
                    <a:pt x="893" y="71"/>
                  </a:lnTo>
                  <a:lnTo>
                    <a:pt x="881" y="71"/>
                  </a:lnTo>
                  <a:lnTo>
                    <a:pt x="881" y="71"/>
                  </a:lnTo>
                  <a:lnTo>
                    <a:pt x="874" y="71"/>
                  </a:lnTo>
                  <a:lnTo>
                    <a:pt x="869" y="71"/>
                  </a:lnTo>
                  <a:lnTo>
                    <a:pt x="869" y="71"/>
                  </a:lnTo>
                  <a:lnTo>
                    <a:pt x="869" y="73"/>
                  </a:lnTo>
                  <a:lnTo>
                    <a:pt x="869" y="76"/>
                  </a:lnTo>
                  <a:lnTo>
                    <a:pt x="869" y="83"/>
                  </a:lnTo>
                  <a:lnTo>
                    <a:pt x="869" y="83"/>
                  </a:lnTo>
                  <a:lnTo>
                    <a:pt x="845" y="83"/>
                  </a:lnTo>
                  <a:lnTo>
                    <a:pt x="845" y="83"/>
                  </a:lnTo>
                  <a:lnTo>
                    <a:pt x="834" y="83"/>
                  </a:lnTo>
                  <a:lnTo>
                    <a:pt x="834" y="83"/>
                  </a:lnTo>
                  <a:lnTo>
                    <a:pt x="834" y="71"/>
                  </a:lnTo>
                  <a:lnTo>
                    <a:pt x="834" y="71"/>
                  </a:lnTo>
                  <a:lnTo>
                    <a:pt x="834" y="64"/>
                  </a:lnTo>
                  <a:lnTo>
                    <a:pt x="834" y="59"/>
                  </a:lnTo>
                  <a:lnTo>
                    <a:pt x="834" y="59"/>
                  </a:lnTo>
                  <a:lnTo>
                    <a:pt x="827" y="59"/>
                  </a:lnTo>
                  <a:lnTo>
                    <a:pt x="822" y="59"/>
                  </a:lnTo>
                  <a:lnTo>
                    <a:pt x="822" y="59"/>
                  </a:lnTo>
                  <a:lnTo>
                    <a:pt x="820" y="57"/>
                  </a:lnTo>
                  <a:lnTo>
                    <a:pt x="822" y="52"/>
                  </a:lnTo>
                  <a:lnTo>
                    <a:pt x="822" y="48"/>
                  </a:lnTo>
                  <a:lnTo>
                    <a:pt x="822" y="48"/>
                  </a:lnTo>
                  <a:lnTo>
                    <a:pt x="798" y="48"/>
                  </a:lnTo>
                  <a:lnTo>
                    <a:pt x="798" y="48"/>
                  </a:lnTo>
                  <a:lnTo>
                    <a:pt x="791" y="48"/>
                  </a:lnTo>
                  <a:lnTo>
                    <a:pt x="787" y="48"/>
                  </a:lnTo>
                  <a:lnTo>
                    <a:pt x="787" y="48"/>
                  </a:lnTo>
                  <a:lnTo>
                    <a:pt x="784" y="52"/>
                  </a:lnTo>
                  <a:lnTo>
                    <a:pt x="787" y="59"/>
                  </a:lnTo>
                  <a:lnTo>
                    <a:pt x="787" y="59"/>
                  </a:lnTo>
                  <a:lnTo>
                    <a:pt x="784" y="59"/>
                  </a:lnTo>
                  <a:lnTo>
                    <a:pt x="779" y="59"/>
                  </a:lnTo>
                  <a:lnTo>
                    <a:pt x="772" y="59"/>
                  </a:lnTo>
                  <a:lnTo>
                    <a:pt x="772" y="59"/>
                  </a:lnTo>
                  <a:lnTo>
                    <a:pt x="772" y="64"/>
                  </a:lnTo>
                  <a:lnTo>
                    <a:pt x="772" y="71"/>
                  </a:lnTo>
                  <a:lnTo>
                    <a:pt x="772" y="71"/>
                  </a:lnTo>
                  <a:lnTo>
                    <a:pt x="761" y="71"/>
                  </a:lnTo>
                  <a:lnTo>
                    <a:pt x="761" y="71"/>
                  </a:lnTo>
                  <a:lnTo>
                    <a:pt x="749" y="71"/>
                  </a:lnTo>
                  <a:lnTo>
                    <a:pt x="749" y="71"/>
                  </a:lnTo>
                  <a:lnTo>
                    <a:pt x="744" y="71"/>
                  </a:lnTo>
                  <a:lnTo>
                    <a:pt x="737" y="71"/>
                  </a:lnTo>
                  <a:lnTo>
                    <a:pt x="737" y="71"/>
                  </a:lnTo>
                  <a:lnTo>
                    <a:pt x="737" y="69"/>
                  </a:lnTo>
                  <a:lnTo>
                    <a:pt x="737" y="64"/>
                  </a:lnTo>
                  <a:lnTo>
                    <a:pt x="737" y="59"/>
                  </a:lnTo>
                  <a:lnTo>
                    <a:pt x="737" y="59"/>
                  </a:lnTo>
                  <a:lnTo>
                    <a:pt x="725" y="59"/>
                  </a:lnTo>
                  <a:lnTo>
                    <a:pt x="725" y="59"/>
                  </a:lnTo>
                  <a:lnTo>
                    <a:pt x="702" y="59"/>
                  </a:lnTo>
                  <a:lnTo>
                    <a:pt x="702" y="59"/>
                  </a:lnTo>
                  <a:lnTo>
                    <a:pt x="702" y="64"/>
                  </a:lnTo>
                  <a:lnTo>
                    <a:pt x="702" y="69"/>
                  </a:lnTo>
                  <a:lnTo>
                    <a:pt x="702" y="71"/>
                  </a:lnTo>
                  <a:lnTo>
                    <a:pt x="702" y="71"/>
                  </a:lnTo>
                  <a:lnTo>
                    <a:pt x="697" y="71"/>
                  </a:lnTo>
                  <a:lnTo>
                    <a:pt x="690" y="71"/>
                  </a:lnTo>
                  <a:lnTo>
                    <a:pt x="690" y="71"/>
                  </a:lnTo>
                  <a:lnTo>
                    <a:pt x="685" y="71"/>
                  </a:lnTo>
                  <a:lnTo>
                    <a:pt x="678" y="71"/>
                  </a:lnTo>
                  <a:lnTo>
                    <a:pt x="678" y="71"/>
                  </a:lnTo>
                  <a:lnTo>
                    <a:pt x="666" y="71"/>
                  </a:lnTo>
                  <a:lnTo>
                    <a:pt x="666" y="71"/>
                  </a:lnTo>
                  <a:lnTo>
                    <a:pt x="655" y="71"/>
                  </a:lnTo>
                  <a:lnTo>
                    <a:pt x="655" y="71"/>
                  </a:lnTo>
                  <a:lnTo>
                    <a:pt x="643" y="71"/>
                  </a:lnTo>
                  <a:lnTo>
                    <a:pt x="643" y="71"/>
                  </a:lnTo>
                  <a:lnTo>
                    <a:pt x="619" y="71"/>
                  </a:lnTo>
                  <a:lnTo>
                    <a:pt x="619" y="71"/>
                  </a:lnTo>
                  <a:lnTo>
                    <a:pt x="607" y="71"/>
                  </a:lnTo>
                  <a:lnTo>
                    <a:pt x="607" y="71"/>
                  </a:lnTo>
                  <a:lnTo>
                    <a:pt x="596" y="71"/>
                  </a:lnTo>
                  <a:lnTo>
                    <a:pt x="596" y="71"/>
                  </a:lnTo>
                  <a:lnTo>
                    <a:pt x="589" y="71"/>
                  </a:lnTo>
                  <a:lnTo>
                    <a:pt x="584" y="71"/>
                  </a:lnTo>
                  <a:lnTo>
                    <a:pt x="584" y="71"/>
                  </a:lnTo>
                  <a:lnTo>
                    <a:pt x="584" y="64"/>
                  </a:lnTo>
                  <a:lnTo>
                    <a:pt x="584" y="59"/>
                  </a:lnTo>
                  <a:lnTo>
                    <a:pt x="584" y="59"/>
                  </a:lnTo>
                  <a:lnTo>
                    <a:pt x="577" y="59"/>
                  </a:lnTo>
                  <a:lnTo>
                    <a:pt x="572" y="59"/>
                  </a:lnTo>
                  <a:lnTo>
                    <a:pt x="572" y="59"/>
                  </a:lnTo>
                  <a:lnTo>
                    <a:pt x="560" y="59"/>
                  </a:lnTo>
                  <a:lnTo>
                    <a:pt x="560" y="59"/>
                  </a:lnTo>
                  <a:lnTo>
                    <a:pt x="560" y="64"/>
                  </a:lnTo>
                  <a:lnTo>
                    <a:pt x="560" y="69"/>
                  </a:lnTo>
                  <a:lnTo>
                    <a:pt x="560" y="71"/>
                  </a:lnTo>
                  <a:lnTo>
                    <a:pt x="560" y="71"/>
                  </a:lnTo>
                  <a:lnTo>
                    <a:pt x="558" y="71"/>
                  </a:lnTo>
                  <a:lnTo>
                    <a:pt x="553" y="71"/>
                  </a:lnTo>
                  <a:lnTo>
                    <a:pt x="549" y="71"/>
                  </a:lnTo>
                  <a:lnTo>
                    <a:pt x="549" y="71"/>
                  </a:lnTo>
                  <a:lnTo>
                    <a:pt x="542" y="71"/>
                  </a:lnTo>
                  <a:lnTo>
                    <a:pt x="539" y="71"/>
                  </a:lnTo>
                  <a:lnTo>
                    <a:pt x="537" y="71"/>
                  </a:lnTo>
                  <a:lnTo>
                    <a:pt x="537" y="71"/>
                  </a:lnTo>
                  <a:lnTo>
                    <a:pt x="534" y="73"/>
                  </a:lnTo>
                  <a:lnTo>
                    <a:pt x="534" y="76"/>
                  </a:lnTo>
                  <a:lnTo>
                    <a:pt x="537" y="83"/>
                  </a:lnTo>
                  <a:lnTo>
                    <a:pt x="537" y="83"/>
                  </a:lnTo>
                  <a:lnTo>
                    <a:pt x="523" y="83"/>
                  </a:lnTo>
                  <a:lnTo>
                    <a:pt x="523" y="83"/>
                  </a:lnTo>
                  <a:lnTo>
                    <a:pt x="518" y="83"/>
                  </a:lnTo>
                  <a:lnTo>
                    <a:pt x="511" y="83"/>
                  </a:lnTo>
                  <a:lnTo>
                    <a:pt x="511" y="83"/>
                  </a:lnTo>
                  <a:lnTo>
                    <a:pt x="511" y="88"/>
                  </a:lnTo>
                  <a:lnTo>
                    <a:pt x="511" y="95"/>
                  </a:lnTo>
                  <a:lnTo>
                    <a:pt x="511" y="95"/>
                  </a:lnTo>
                  <a:lnTo>
                    <a:pt x="509" y="95"/>
                  </a:lnTo>
                  <a:lnTo>
                    <a:pt x="506" y="95"/>
                  </a:lnTo>
                  <a:lnTo>
                    <a:pt x="499" y="95"/>
                  </a:lnTo>
                  <a:lnTo>
                    <a:pt x="499" y="95"/>
                  </a:lnTo>
                  <a:lnTo>
                    <a:pt x="499" y="83"/>
                  </a:lnTo>
                  <a:lnTo>
                    <a:pt x="499" y="83"/>
                  </a:lnTo>
                  <a:lnTo>
                    <a:pt x="499" y="36"/>
                  </a:lnTo>
                  <a:lnTo>
                    <a:pt x="499" y="36"/>
                  </a:lnTo>
                  <a:lnTo>
                    <a:pt x="499" y="24"/>
                  </a:lnTo>
                  <a:lnTo>
                    <a:pt x="499" y="24"/>
                  </a:lnTo>
                  <a:lnTo>
                    <a:pt x="499" y="0"/>
                  </a:lnTo>
                  <a:lnTo>
                    <a:pt x="499" y="0"/>
                  </a:lnTo>
                  <a:lnTo>
                    <a:pt x="476" y="0"/>
                  </a:lnTo>
                  <a:lnTo>
                    <a:pt x="476" y="0"/>
                  </a:lnTo>
                  <a:lnTo>
                    <a:pt x="452" y="0"/>
                  </a:lnTo>
                  <a:lnTo>
                    <a:pt x="452" y="0"/>
                  </a:lnTo>
                  <a:lnTo>
                    <a:pt x="447" y="0"/>
                  </a:lnTo>
                  <a:lnTo>
                    <a:pt x="440" y="0"/>
                  </a:lnTo>
                  <a:lnTo>
                    <a:pt x="440" y="0"/>
                  </a:lnTo>
                  <a:lnTo>
                    <a:pt x="440" y="3"/>
                  </a:lnTo>
                  <a:lnTo>
                    <a:pt x="440" y="5"/>
                  </a:lnTo>
                  <a:lnTo>
                    <a:pt x="440" y="12"/>
                  </a:lnTo>
                  <a:lnTo>
                    <a:pt x="440" y="12"/>
                  </a:lnTo>
                  <a:lnTo>
                    <a:pt x="435" y="12"/>
                  </a:lnTo>
                  <a:lnTo>
                    <a:pt x="428" y="12"/>
                  </a:lnTo>
                  <a:lnTo>
                    <a:pt x="428" y="12"/>
                  </a:lnTo>
                  <a:lnTo>
                    <a:pt x="428" y="17"/>
                  </a:lnTo>
                  <a:lnTo>
                    <a:pt x="428" y="24"/>
                  </a:lnTo>
                  <a:lnTo>
                    <a:pt x="428" y="24"/>
                  </a:lnTo>
                  <a:lnTo>
                    <a:pt x="428" y="48"/>
                  </a:lnTo>
                  <a:lnTo>
                    <a:pt x="428" y="48"/>
                  </a:lnTo>
                  <a:lnTo>
                    <a:pt x="428" y="59"/>
                  </a:lnTo>
                  <a:lnTo>
                    <a:pt x="428" y="59"/>
                  </a:lnTo>
                  <a:lnTo>
                    <a:pt x="428" y="64"/>
                  </a:lnTo>
                  <a:lnTo>
                    <a:pt x="428" y="71"/>
                  </a:lnTo>
                  <a:lnTo>
                    <a:pt x="428" y="71"/>
                  </a:lnTo>
                  <a:lnTo>
                    <a:pt x="424" y="71"/>
                  </a:lnTo>
                  <a:lnTo>
                    <a:pt x="417" y="71"/>
                  </a:lnTo>
                  <a:lnTo>
                    <a:pt x="417" y="71"/>
                  </a:lnTo>
                  <a:lnTo>
                    <a:pt x="417" y="73"/>
                  </a:lnTo>
                  <a:lnTo>
                    <a:pt x="417" y="76"/>
                  </a:lnTo>
                  <a:lnTo>
                    <a:pt x="417" y="83"/>
                  </a:lnTo>
                  <a:lnTo>
                    <a:pt x="417" y="83"/>
                  </a:lnTo>
                  <a:lnTo>
                    <a:pt x="417" y="106"/>
                  </a:lnTo>
                  <a:lnTo>
                    <a:pt x="417" y="106"/>
                  </a:lnTo>
                  <a:lnTo>
                    <a:pt x="393" y="106"/>
                  </a:lnTo>
                  <a:lnTo>
                    <a:pt x="393" y="106"/>
                  </a:lnTo>
                  <a:lnTo>
                    <a:pt x="386" y="106"/>
                  </a:lnTo>
                  <a:lnTo>
                    <a:pt x="384" y="106"/>
                  </a:lnTo>
                  <a:lnTo>
                    <a:pt x="381" y="106"/>
                  </a:lnTo>
                  <a:lnTo>
                    <a:pt x="381" y="106"/>
                  </a:lnTo>
                  <a:lnTo>
                    <a:pt x="381" y="102"/>
                  </a:lnTo>
                  <a:lnTo>
                    <a:pt x="381" y="95"/>
                  </a:lnTo>
                  <a:lnTo>
                    <a:pt x="381" y="95"/>
                  </a:lnTo>
                  <a:lnTo>
                    <a:pt x="381" y="90"/>
                  </a:lnTo>
                  <a:lnTo>
                    <a:pt x="381" y="83"/>
                  </a:lnTo>
                  <a:lnTo>
                    <a:pt x="381" y="83"/>
                  </a:lnTo>
                  <a:lnTo>
                    <a:pt x="381" y="59"/>
                  </a:lnTo>
                  <a:lnTo>
                    <a:pt x="381" y="59"/>
                  </a:lnTo>
                  <a:lnTo>
                    <a:pt x="381" y="48"/>
                  </a:lnTo>
                  <a:lnTo>
                    <a:pt x="381" y="48"/>
                  </a:lnTo>
                  <a:lnTo>
                    <a:pt x="381" y="36"/>
                  </a:lnTo>
                  <a:lnTo>
                    <a:pt x="381" y="36"/>
                  </a:lnTo>
                  <a:lnTo>
                    <a:pt x="381" y="29"/>
                  </a:lnTo>
                  <a:lnTo>
                    <a:pt x="381" y="24"/>
                  </a:lnTo>
                  <a:lnTo>
                    <a:pt x="381" y="24"/>
                  </a:lnTo>
                  <a:lnTo>
                    <a:pt x="379" y="24"/>
                  </a:lnTo>
                  <a:lnTo>
                    <a:pt x="374" y="24"/>
                  </a:lnTo>
                  <a:lnTo>
                    <a:pt x="370" y="24"/>
                  </a:lnTo>
                  <a:lnTo>
                    <a:pt x="370" y="24"/>
                  </a:lnTo>
                  <a:lnTo>
                    <a:pt x="370" y="22"/>
                  </a:lnTo>
                  <a:lnTo>
                    <a:pt x="370" y="17"/>
                  </a:lnTo>
                  <a:lnTo>
                    <a:pt x="370" y="12"/>
                  </a:lnTo>
                  <a:lnTo>
                    <a:pt x="370" y="12"/>
                  </a:lnTo>
                  <a:lnTo>
                    <a:pt x="358" y="12"/>
                  </a:lnTo>
                  <a:lnTo>
                    <a:pt x="358" y="12"/>
                  </a:lnTo>
                  <a:lnTo>
                    <a:pt x="334" y="12"/>
                  </a:lnTo>
                  <a:lnTo>
                    <a:pt x="334" y="12"/>
                  </a:lnTo>
                  <a:lnTo>
                    <a:pt x="322" y="12"/>
                  </a:lnTo>
                  <a:lnTo>
                    <a:pt x="322" y="12"/>
                  </a:lnTo>
                  <a:lnTo>
                    <a:pt x="315" y="12"/>
                  </a:lnTo>
                  <a:lnTo>
                    <a:pt x="311" y="12"/>
                  </a:lnTo>
                  <a:lnTo>
                    <a:pt x="311" y="12"/>
                  </a:lnTo>
                  <a:lnTo>
                    <a:pt x="311" y="17"/>
                  </a:lnTo>
                  <a:lnTo>
                    <a:pt x="311" y="24"/>
                  </a:lnTo>
                  <a:lnTo>
                    <a:pt x="311" y="24"/>
                  </a:lnTo>
                  <a:lnTo>
                    <a:pt x="304" y="24"/>
                  </a:lnTo>
                  <a:lnTo>
                    <a:pt x="299" y="24"/>
                  </a:lnTo>
                  <a:lnTo>
                    <a:pt x="299" y="24"/>
                  </a:lnTo>
                  <a:lnTo>
                    <a:pt x="292" y="24"/>
                  </a:lnTo>
                  <a:lnTo>
                    <a:pt x="285" y="24"/>
                  </a:lnTo>
                  <a:lnTo>
                    <a:pt x="285" y="24"/>
                  </a:lnTo>
                  <a:lnTo>
                    <a:pt x="261" y="24"/>
                  </a:lnTo>
                  <a:lnTo>
                    <a:pt x="261" y="24"/>
                  </a:lnTo>
                  <a:lnTo>
                    <a:pt x="261" y="36"/>
                  </a:lnTo>
                  <a:lnTo>
                    <a:pt x="261" y="36"/>
                  </a:lnTo>
                  <a:lnTo>
                    <a:pt x="261" y="59"/>
                  </a:lnTo>
                  <a:lnTo>
                    <a:pt x="261" y="59"/>
                  </a:lnTo>
                  <a:lnTo>
                    <a:pt x="261" y="106"/>
                  </a:lnTo>
                  <a:lnTo>
                    <a:pt x="261" y="106"/>
                  </a:lnTo>
                  <a:lnTo>
                    <a:pt x="261" y="154"/>
                  </a:lnTo>
                  <a:lnTo>
                    <a:pt x="261" y="154"/>
                  </a:lnTo>
                  <a:lnTo>
                    <a:pt x="256" y="154"/>
                  </a:lnTo>
                  <a:lnTo>
                    <a:pt x="249" y="154"/>
                  </a:lnTo>
                  <a:lnTo>
                    <a:pt x="249" y="154"/>
                  </a:lnTo>
                  <a:lnTo>
                    <a:pt x="249" y="149"/>
                  </a:lnTo>
                  <a:lnTo>
                    <a:pt x="249" y="142"/>
                  </a:lnTo>
                  <a:lnTo>
                    <a:pt x="249" y="142"/>
                  </a:lnTo>
                  <a:lnTo>
                    <a:pt x="247" y="142"/>
                  </a:lnTo>
                  <a:lnTo>
                    <a:pt x="245" y="142"/>
                  </a:lnTo>
                  <a:lnTo>
                    <a:pt x="238" y="142"/>
                  </a:lnTo>
                  <a:lnTo>
                    <a:pt x="238" y="142"/>
                  </a:lnTo>
                  <a:lnTo>
                    <a:pt x="238" y="137"/>
                  </a:lnTo>
                  <a:lnTo>
                    <a:pt x="238" y="130"/>
                  </a:lnTo>
                  <a:lnTo>
                    <a:pt x="238" y="130"/>
                  </a:lnTo>
                  <a:lnTo>
                    <a:pt x="238" y="118"/>
                  </a:lnTo>
                  <a:lnTo>
                    <a:pt x="238" y="118"/>
                  </a:lnTo>
                  <a:lnTo>
                    <a:pt x="238" y="106"/>
                  </a:lnTo>
                  <a:lnTo>
                    <a:pt x="238" y="106"/>
                  </a:lnTo>
                  <a:lnTo>
                    <a:pt x="238" y="83"/>
                  </a:lnTo>
                  <a:lnTo>
                    <a:pt x="238" y="83"/>
                  </a:lnTo>
                  <a:lnTo>
                    <a:pt x="226" y="83"/>
                  </a:lnTo>
                  <a:lnTo>
                    <a:pt x="226" y="83"/>
                  </a:lnTo>
                  <a:lnTo>
                    <a:pt x="214" y="83"/>
                  </a:lnTo>
                  <a:lnTo>
                    <a:pt x="214" y="83"/>
                  </a:lnTo>
                  <a:lnTo>
                    <a:pt x="214" y="85"/>
                  </a:lnTo>
                  <a:lnTo>
                    <a:pt x="214" y="88"/>
                  </a:lnTo>
                  <a:lnTo>
                    <a:pt x="214" y="95"/>
                  </a:lnTo>
                  <a:lnTo>
                    <a:pt x="214" y="95"/>
                  </a:lnTo>
                  <a:lnTo>
                    <a:pt x="167" y="95"/>
                  </a:lnTo>
                  <a:lnTo>
                    <a:pt x="167" y="95"/>
                  </a:lnTo>
                  <a:lnTo>
                    <a:pt x="167" y="106"/>
                  </a:lnTo>
                  <a:lnTo>
                    <a:pt x="167" y="106"/>
                  </a:lnTo>
                  <a:lnTo>
                    <a:pt x="167" y="118"/>
                  </a:lnTo>
                  <a:lnTo>
                    <a:pt x="167" y="118"/>
                  </a:lnTo>
                  <a:lnTo>
                    <a:pt x="167" y="130"/>
                  </a:lnTo>
                  <a:lnTo>
                    <a:pt x="167" y="130"/>
                  </a:lnTo>
                  <a:lnTo>
                    <a:pt x="167" y="137"/>
                  </a:lnTo>
                  <a:lnTo>
                    <a:pt x="167" y="142"/>
                  </a:lnTo>
                  <a:lnTo>
                    <a:pt x="167" y="142"/>
                  </a:lnTo>
                  <a:lnTo>
                    <a:pt x="155" y="142"/>
                  </a:lnTo>
                  <a:lnTo>
                    <a:pt x="155" y="142"/>
                  </a:lnTo>
                  <a:lnTo>
                    <a:pt x="155" y="130"/>
                  </a:lnTo>
                  <a:lnTo>
                    <a:pt x="155" y="130"/>
                  </a:lnTo>
                  <a:lnTo>
                    <a:pt x="153" y="130"/>
                  </a:lnTo>
                  <a:lnTo>
                    <a:pt x="148" y="130"/>
                  </a:lnTo>
                  <a:lnTo>
                    <a:pt x="143" y="130"/>
                  </a:lnTo>
                  <a:lnTo>
                    <a:pt x="143" y="130"/>
                  </a:lnTo>
                  <a:lnTo>
                    <a:pt x="143" y="137"/>
                  </a:lnTo>
                  <a:lnTo>
                    <a:pt x="143" y="139"/>
                  </a:lnTo>
                  <a:lnTo>
                    <a:pt x="143" y="142"/>
                  </a:lnTo>
                  <a:lnTo>
                    <a:pt x="143" y="142"/>
                  </a:lnTo>
                  <a:lnTo>
                    <a:pt x="132" y="142"/>
                  </a:lnTo>
                  <a:lnTo>
                    <a:pt x="132" y="142"/>
                  </a:lnTo>
                  <a:lnTo>
                    <a:pt x="132" y="130"/>
                  </a:lnTo>
                  <a:lnTo>
                    <a:pt x="132" y="130"/>
                  </a:lnTo>
                  <a:lnTo>
                    <a:pt x="129" y="130"/>
                  </a:lnTo>
                  <a:lnTo>
                    <a:pt x="124" y="130"/>
                  </a:lnTo>
                  <a:lnTo>
                    <a:pt x="120" y="130"/>
                  </a:lnTo>
                  <a:lnTo>
                    <a:pt x="120" y="130"/>
                  </a:lnTo>
                  <a:lnTo>
                    <a:pt x="113" y="130"/>
                  </a:lnTo>
                  <a:lnTo>
                    <a:pt x="110" y="130"/>
                  </a:lnTo>
                  <a:lnTo>
                    <a:pt x="108" y="130"/>
                  </a:lnTo>
                  <a:lnTo>
                    <a:pt x="108" y="130"/>
                  </a:lnTo>
                  <a:lnTo>
                    <a:pt x="108" y="125"/>
                  </a:lnTo>
                  <a:lnTo>
                    <a:pt x="108" y="118"/>
                  </a:lnTo>
                  <a:lnTo>
                    <a:pt x="108" y="118"/>
                  </a:lnTo>
                  <a:lnTo>
                    <a:pt x="108" y="114"/>
                  </a:lnTo>
                  <a:lnTo>
                    <a:pt x="108" y="106"/>
                  </a:lnTo>
                  <a:lnTo>
                    <a:pt x="108" y="106"/>
                  </a:lnTo>
                  <a:lnTo>
                    <a:pt x="108" y="95"/>
                  </a:lnTo>
                  <a:lnTo>
                    <a:pt x="108" y="95"/>
                  </a:lnTo>
                  <a:lnTo>
                    <a:pt x="108" y="71"/>
                  </a:lnTo>
                  <a:lnTo>
                    <a:pt x="108" y="71"/>
                  </a:lnTo>
                  <a:lnTo>
                    <a:pt x="96" y="71"/>
                  </a:lnTo>
                  <a:lnTo>
                    <a:pt x="96" y="71"/>
                  </a:lnTo>
                  <a:lnTo>
                    <a:pt x="89" y="71"/>
                  </a:lnTo>
                  <a:lnTo>
                    <a:pt x="84" y="71"/>
                  </a:lnTo>
                  <a:lnTo>
                    <a:pt x="84" y="71"/>
                  </a:lnTo>
                  <a:lnTo>
                    <a:pt x="84" y="66"/>
                  </a:lnTo>
                  <a:lnTo>
                    <a:pt x="84" y="59"/>
                  </a:lnTo>
                  <a:lnTo>
                    <a:pt x="84" y="59"/>
                  </a:lnTo>
                  <a:lnTo>
                    <a:pt x="82" y="59"/>
                  </a:lnTo>
                  <a:lnTo>
                    <a:pt x="77" y="59"/>
                  </a:lnTo>
                  <a:lnTo>
                    <a:pt x="73" y="59"/>
                  </a:lnTo>
                  <a:lnTo>
                    <a:pt x="73" y="59"/>
                  </a:lnTo>
                  <a:lnTo>
                    <a:pt x="73" y="48"/>
                  </a:lnTo>
                  <a:lnTo>
                    <a:pt x="73" y="48"/>
                  </a:lnTo>
                  <a:lnTo>
                    <a:pt x="70" y="41"/>
                  </a:lnTo>
                  <a:lnTo>
                    <a:pt x="73" y="36"/>
                  </a:lnTo>
                  <a:lnTo>
                    <a:pt x="73" y="36"/>
                  </a:lnTo>
                  <a:lnTo>
                    <a:pt x="75" y="36"/>
                  </a:lnTo>
                  <a:lnTo>
                    <a:pt x="77" y="36"/>
                  </a:lnTo>
                  <a:lnTo>
                    <a:pt x="84" y="36"/>
                  </a:lnTo>
                  <a:lnTo>
                    <a:pt x="84" y="36"/>
                  </a:lnTo>
                  <a:lnTo>
                    <a:pt x="84" y="12"/>
                  </a:lnTo>
                  <a:lnTo>
                    <a:pt x="84" y="12"/>
                  </a:lnTo>
                  <a:lnTo>
                    <a:pt x="35" y="12"/>
                  </a:lnTo>
                  <a:lnTo>
                    <a:pt x="35" y="12"/>
                  </a:lnTo>
                  <a:lnTo>
                    <a:pt x="11" y="12"/>
                  </a:lnTo>
                  <a:lnTo>
                    <a:pt x="11" y="12"/>
                  </a:lnTo>
                  <a:lnTo>
                    <a:pt x="0" y="12"/>
                  </a:lnTo>
                  <a:lnTo>
                    <a:pt x="0" y="262"/>
                  </a:lnTo>
                  <a:lnTo>
                    <a:pt x="0" y="262"/>
                  </a:lnTo>
                  <a:lnTo>
                    <a:pt x="23" y="262"/>
                  </a:lnTo>
                  <a:lnTo>
                    <a:pt x="23" y="262"/>
                  </a:lnTo>
                  <a:lnTo>
                    <a:pt x="35" y="262"/>
                  </a:lnTo>
                  <a:lnTo>
                    <a:pt x="35" y="262"/>
                  </a:lnTo>
                  <a:lnTo>
                    <a:pt x="61" y="262"/>
                  </a:lnTo>
                  <a:lnTo>
                    <a:pt x="61" y="262"/>
                  </a:lnTo>
                  <a:lnTo>
                    <a:pt x="73" y="262"/>
                  </a:lnTo>
                  <a:lnTo>
                    <a:pt x="73" y="262"/>
                  </a:lnTo>
                  <a:lnTo>
                    <a:pt x="96" y="262"/>
                  </a:lnTo>
                  <a:lnTo>
                    <a:pt x="96" y="262"/>
                  </a:lnTo>
                  <a:lnTo>
                    <a:pt x="108" y="262"/>
                  </a:lnTo>
                  <a:lnTo>
                    <a:pt x="108" y="262"/>
                  </a:lnTo>
                  <a:lnTo>
                    <a:pt x="132" y="262"/>
                  </a:lnTo>
                  <a:lnTo>
                    <a:pt x="132" y="262"/>
                  </a:lnTo>
                  <a:lnTo>
                    <a:pt x="143" y="262"/>
                  </a:lnTo>
                  <a:lnTo>
                    <a:pt x="143" y="262"/>
                  </a:lnTo>
                  <a:lnTo>
                    <a:pt x="167" y="262"/>
                  </a:lnTo>
                  <a:lnTo>
                    <a:pt x="167" y="262"/>
                  </a:lnTo>
                  <a:lnTo>
                    <a:pt x="179" y="262"/>
                  </a:lnTo>
                  <a:lnTo>
                    <a:pt x="179" y="262"/>
                  </a:lnTo>
                  <a:lnTo>
                    <a:pt x="202" y="262"/>
                  </a:lnTo>
                  <a:lnTo>
                    <a:pt x="202" y="262"/>
                  </a:lnTo>
                  <a:lnTo>
                    <a:pt x="214" y="262"/>
                  </a:lnTo>
                  <a:lnTo>
                    <a:pt x="214" y="262"/>
                  </a:lnTo>
                  <a:lnTo>
                    <a:pt x="238" y="262"/>
                  </a:lnTo>
                  <a:lnTo>
                    <a:pt x="238" y="262"/>
                  </a:lnTo>
                  <a:lnTo>
                    <a:pt x="249" y="262"/>
                  </a:lnTo>
                  <a:lnTo>
                    <a:pt x="249" y="262"/>
                  </a:lnTo>
                  <a:lnTo>
                    <a:pt x="299" y="262"/>
                  </a:lnTo>
                  <a:lnTo>
                    <a:pt x="299" y="262"/>
                  </a:lnTo>
                  <a:lnTo>
                    <a:pt x="311" y="262"/>
                  </a:lnTo>
                  <a:lnTo>
                    <a:pt x="311" y="262"/>
                  </a:lnTo>
                  <a:lnTo>
                    <a:pt x="334" y="262"/>
                  </a:lnTo>
                  <a:lnTo>
                    <a:pt x="334" y="262"/>
                  </a:lnTo>
                  <a:lnTo>
                    <a:pt x="346" y="262"/>
                  </a:lnTo>
                  <a:lnTo>
                    <a:pt x="346" y="262"/>
                  </a:lnTo>
                  <a:lnTo>
                    <a:pt x="370" y="262"/>
                  </a:lnTo>
                  <a:lnTo>
                    <a:pt x="370" y="262"/>
                  </a:lnTo>
                  <a:lnTo>
                    <a:pt x="381" y="262"/>
                  </a:lnTo>
                  <a:lnTo>
                    <a:pt x="381" y="262"/>
                  </a:lnTo>
                  <a:lnTo>
                    <a:pt x="405" y="262"/>
                  </a:lnTo>
                  <a:lnTo>
                    <a:pt x="405" y="262"/>
                  </a:lnTo>
                  <a:lnTo>
                    <a:pt x="417" y="262"/>
                  </a:lnTo>
                  <a:lnTo>
                    <a:pt x="417" y="262"/>
                  </a:lnTo>
                  <a:lnTo>
                    <a:pt x="440" y="262"/>
                  </a:lnTo>
                  <a:lnTo>
                    <a:pt x="440" y="262"/>
                  </a:lnTo>
                  <a:lnTo>
                    <a:pt x="452" y="262"/>
                  </a:lnTo>
                  <a:lnTo>
                    <a:pt x="452" y="262"/>
                  </a:lnTo>
                  <a:lnTo>
                    <a:pt x="476" y="262"/>
                  </a:lnTo>
                  <a:lnTo>
                    <a:pt x="476" y="262"/>
                  </a:lnTo>
                  <a:lnTo>
                    <a:pt x="487" y="262"/>
                  </a:lnTo>
                  <a:lnTo>
                    <a:pt x="487" y="262"/>
                  </a:lnTo>
                  <a:lnTo>
                    <a:pt x="511" y="262"/>
                  </a:lnTo>
                  <a:lnTo>
                    <a:pt x="511" y="262"/>
                  </a:lnTo>
                  <a:lnTo>
                    <a:pt x="523" y="262"/>
                  </a:lnTo>
                  <a:lnTo>
                    <a:pt x="523" y="262"/>
                  </a:lnTo>
                  <a:lnTo>
                    <a:pt x="572" y="262"/>
                  </a:lnTo>
                  <a:lnTo>
                    <a:pt x="572" y="262"/>
                  </a:lnTo>
                  <a:lnTo>
                    <a:pt x="584" y="262"/>
                  </a:lnTo>
                  <a:lnTo>
                    <a:pt x="584" y="262"/>
                  </a:lnTo>
                  <a:lnTo>
                    <a:pt x="607" y="262"/>
                  </a:lnTo>
                  <a:lnTo>
                    <a:pt x="607" y="262"/>
                  </a:lnTo>
                  <a:lnTo>
                    <a:pt x="619" y="262"/>
                  </a:lnTo>
                  <a:lnTo>
                    <a:pt x="619" y="262"/>
                  </a:lnTo>
                  <a:lnTo>
                    <a:pt x="643" y="262"/>
                  </a:lnTo>
                  <a:lnTo>
                    <a:pt x="643" y="262"/>
                  </a:lnTo>
                  <a:lnTo>
                    <a:pt x="655" y="262"/>
                  </a:lnTo>
                  <a:lnTo>
                    <a:pt x="655" y="262"/>
                  </a:lnTo>
                  <a:lnTo>
                    <a:pt x="678" y="262"/>
                  </a:lnTo>
                  <a:lnTo>
                    <a:pt x="678" y="262"/>
                  </a:lnTo>
                  <a:lnTo>
                    <a:pt x="690" y="262"/>
                  </a:lnTo>
                  <a:lnTo>
                    <a:pt x="690" y="262"/>
                  </a:lnTo>
                  <a:lnTo>
                    <a:pt x="714" y="262"/>
                  </a:lnTo>
                  <a:lnTo>
                    <a:pt x="714" y="262"/>
                  </a:lnTo>
                  <a:lnTo>
                    <a:pt x="725" y="262"/>
                  </a:lnTo>
                  <a:lnTo>
                    <a:pt x="725" y="262"/>
                  </a:lnTo>
                  <a:lnTo>
                    <a:pt x="749" y="262"/>
                  </a:lnTo>
                  <a:lnTo>
                    <a:pt x="749" y="262"/>
                  </a:lnTo>
                  <a:lnTo>
                    <a:pt x="761" y="262"/>
                  </a:lnTo>
                  <a:lnTo>
                    <a:pt x="761" y="262"/>
                  </a:lnTo>
                  <a:lnTo>
                    <a:pt x="787" y="262"/>
                  </a:lnTo>
                  <a:lnTo>
                    <a:pt x="787" y="262"/>
                  </a:lnTo>
                  <a:lnTo>
                    <a:pt x="798" y="262"/>
                  </a:lnTo>
                  <a:lnTo>
                    <a:pt x="798" y="262"/>
                  </a:lnTo>
                  <a:lnTo>
                    <a:pt x="845" y="262"/>
                  </a:lnTo>
                  <a:lnTo>
                    <a:pt x="845" y="262"/>
                  </a:lnTo>
                  <a:lnTo>
                    <a:pt x="857" y="262"/>
                  </a:lnTo>
                  <a:lnTo>
                    <a:pt x="857" y="262"/>
                  </a:lnTo>
                  <a:lnTo>
                    <a:pt x="881" y="262"/>
                  </a:lnTo>
                  <a:lnTo>
                    <a:pt x="881" y="262"/>
                  </a:lnTo>
                  <a:lnTo>
                    <a:pt x="893" y="262"/>
                  </a:lnTo>
                  <a:lnTo>
                    <a:pt x="893" y="262"/>
                  </a:lnTo>
                  <a:lnTo>
                    <a:pt x="916" y="262"/>
                  </a:lnTo>
                  <a:lnTo>
                    <a:pt x="916" y="262"/>
                  </a:lnTo>
                  <a:lnTo>
                    <a:pt x="928" y="262"/>
                  </a:lnTo>
                  <a:lnTo>
                    <a:pt x="928" y="262"/>
                  </a:lnTo>
                  <a:lnTo>
                    <a:pt x="951" y="262"/>
                  </a:lnTo>
                  <a:lnTo>
                    <a:pt x="951" y="262"/>
                  </a:lnTo>
                  <a:lnTo>
                    <a:pt x="963" y="262"/>
                  </a:lnTo>
                  <a:lnTo>
                    <a:pt x="963" y="262"/>
                  </a:lnTo>
                  <a:lnTo>
                    <a:pt x="987" y="262"/>
                  </a:lnTo>
                  <a:lnTo>
                    <a:pt x="987" y="262"/>
                  </a:lnTo>
                  <a:lnTo>
                    <a:pt x="999" y="262"/>
                  </a:lnTo>
                  <a:lnTo>
                    <a:pt x="999" y="262"/>
                  </a:lnTo>
                  <a:lnTo>
                    <a:pt x="1022" y="262"/>
                  </a:lnTo>
                  <a:lnTo>
                    <a:pt x="1022" y="262"/>
                  </a:lnTo>
                  <a:lnTo>
                    <a:pt x="1036" y="262"/>
                  </a:lnTo>
                  <a:lnTo>
                    <a:pt x="1036" y="262"/>
                  </a:lnTo>
                  <a:lnTo>
                    <a:pt x="1060" y="262"/>
                  </a:lnTo>
                  <a:lnTo>
                    <a:pt x="1060" y="262"/>
                  </a:lnTo>
                  <a:lnTo>
                    <a:pt x="1072" y="262"/>
                  </a:lnTo>
                  <a:lnTo>
                    <a:pt x="1072" y="262"/>
                  </a:lnTo>
                  <a:lnTo>
                    <a:pt x="1119" y="262"/>
                  </a:lnTo>
                  <a:lnTo>
                    <a:pt x="1119" y="262"/>
                  </a:lnTo>
                  <a:lnTo>
                    <a:pt x="1131" y="262"/>
                  </a:lnTo>
                  <a:lnTo>
                    <a:pt x="1131" y="262"/>
                  </a:lnTo>
                  <a:lnTo>
                    <a:pt x="1154" y="262"/>
                  </a:lnTo>
                  <a:lnTo>
                    <a:pt x="1154" y="262"/>
                  </a:lnTo>
                  <a:lnTo>
                    <a:pt x="1166" y="262"/>
                  </a:lnTo>
                  <a:lnTo>
                    <a:pt x="1166" y="262"/>
                  </a:lnTo>
                  <a:lnTo>
                    <a:pt x="1189" y="262"/>
                  </a:lnTo>
                  <a:lnTo>
                    <a:pt x="1189" y="262"/>
                  </a:lnTo>
                  <a:lnTo>
                    <a:pt x="1201" y="262"/>
                  </a:lnTo>
                  <a:lnTo>
                    <a:pt x="1201" y="262"/>
                  </a:lnTo>
                  <a:lnTo>
                    <a:pt x="1225" y="262"/>
                  </a:lnTo>
                  <a:lnTo>
                    <a:pt x="1225" y="262"/>
                  </a:lnTo>
                  <a:lnTo>
                    <a:pt x="1237" y="262"/>
                  </a:lnTo>
                  <a:lnTo>
                    <a:pt x="1237" y="262"/>
                  </a:lnTo>
                  <a:lnTo>
                    <a:pt x="1260" y="262"/>
                  </a:lnTo>
                  <a:lnTo>
                    <a:pt x="1260" y="262"/>
                  </a:lnTo>
                  <a:lnTo>
                    <a:pt x="1274" y="262"/>
                  </a:lnTo>
                  <a:lnTo>
                    <a:pt x="1274" y="262"/>
                  </a:lnTo>
                  <a:lnTo>
                    <a:pt x="1298" y="262"/>
                  </a:lnTo>
                  <a:lnTo>
                    <a:pt x="1298" y="262"/>
                  </a:lnTo>
                  <a:lnTo>
                    <a:pt x="1310" y="262"/>
                  </a:lnTo>
                  <a:lnTo>
                    <a:pt x="1310" y="262"/>
                  </a:lnTo>
                  <a:lnTo>
                    <a:pt x="1333" y="262"/>
                  </a:lnTo>
                  <a:lnTo>
                    <a:pt x="1333" y="262"/>
                  </a:lnTo>
                  <a:lnTo>
                    <a:pt x="1345" y="262"/>
                  </a:lnTo>
                  <a:lnTo>
                    <a:pt x="1345" y="262"/>
                  </a:lnTo>
                  <a:lnTo>
                    <a:pt x="1392" y="262"/>
                  </a:lnTo>
                  <a:lnTo>
                    <a:pt x="1392" y="262"/>
                  </a:lnTo>
                  <a:lnTo>
                    <a:pt x="1404" y="262"/>
                  </a:lnTo>
                  <a:lnTo>
                    <a:pt x="1404" y="262"/>
                  </a:lnTo>
                  <a:lnTo>
                    <a:pt x="1427" y="262"/>
                  </a:lnTo>
                  <a:lnTo>
                    <a:pt x="1427" y="262"/>
                  </a:lnTo>
                  <a:lnTo>
                    <a:pt x="1439" y="262"/>
                  </a:lnTo>
                  <a:lnTo>
                    <a:pt x="1439" y="262"/>
                  </a:lnTo>
                  <a:lnTo>
                    <a:pt x="1463" y="262"/>
                  </a:lnTo>
                  <a:lnTo>
                    <a:pt x="1463" y="262"/>
                  </a:lnTo>
                  <a:lnTo>
                    <a:pt x="1475" y="262"/>
                  </a:lnTo>
                  <a:lnTo>
                    <a:pt x="1475" y="262"/>
                  </a:lnTo>
                  <a:lnTo>
                    <a:pt x="1498" y="262"/>
                  </a:lnTo>
                  <a:lnTo>
                    <a:pt x="1498" y="262"/>
                  </a:lnTo>
                  <a:lnTo>
                    <a:pt x="1510" y="262"/>
                  </a:lnTo>
                  <a:lnTo>
                    <a:pt x="1510" y="262"/>
                  </a:lnTo>
                  <a:lnTo>
                    <a:pt x="1536" y="262"/>
                  </a:lnTo>
                  <a:lnTo>
                    <a:pt x="1536" y="262"/>
                  </a:lnTo>
                  <a:lnTo>
                    <a:pt x="1548" y="262"/>
                  </a:lnTo>
                  <a:lnTo>
                    <a:pt x="1548" y="262"/>
                  </a:lnTo>
                  <a:lnTo>
                    <a:pt x="1571" y="262"/>
                  </a:lnTo>
                  <a:lnTo>
                    <a:pt x="1571" y="262"/>
                  </a:lnTo>
                  <a:lnTo>
                    <a:pt x="1583" y="262"/>
                  </a:lnTo>
                  <a:lnTo>
                    <a:pt x="1583" y="262"/>
                  </a:lnTo>
                  <a:lnTo>
                    <a:pt x="1607" y="262"/>
                  </a:lnTo>
                  <a:lnTo>
                    <a:pt x="1607" y="262"/>
                  </a:lnTo>
                  <a:lnTo>
                    <a:pt x="1618" y="262"/>
                  </a:lnTo>
                  <a:lnTo>
                    <a:pt x="1618" y="262"/>
                  </a:lnTo>
                  <a:lnTo>
                    <a:pt x="1665" y="262"/>
                  </a:lnTo>
                  <a:lnTo>
                    <a:pt x="1665" y="262"/>
                  </a:lnTo>
                  <a:lnTo>
                    <a:pt x="1677" y="262"/>
                  </a:lnTo>
                  <a:lnTo>
                    <a:pt x="1677" y="262"/>
                  </a:lnTo>
                  <a:lnTo>
                    <a:pt x="1701" y="262"/>
                  </a:lnTo>
                  <a:lnTo>
                    <a:pt x="1701" y="262"/>
                  </a:lnTo>
                  <a:lnTo>
                    <a:pt x="1713" y="262"/>
                  </a:lnTo>
                  <a:lnTo>
                    <a:pt x="1713" y="262"/>
                  </a:lnTo>
                  <a:lnTo>
                    <a:pt x="1736" y="262"/>
                  </a:lnTo>
                  <a:lnTo>
                    <a:pt x="1736" y="262"/>
                  </a:lnTo>
                  <a:lnTo>
                    <a:pt x="1748" y="262"/>
                  </a:lnTo>
                  <a:lnTo>
                    <a:pt x="1748" y="262"/>
                  </a:lnTo>
                  <a:lnTo>
                    <a:pt x="1774" y="262"/>
                  </a:lnTo>
                  <a:lnTo>
                    <a:pt x="1774" y="262"/>
                  </a:lnTo>
                  <a:lnTo>
                    <a:pt x="1786" y="262"/>
                  </a:lnTo>
                  <a:lnTo>
                    <a:pt x="1786" y="262"/>
                  </a:lnTo>
                  <a:lnTo>
                    <a:pt x="1809" y="262"/>
                  </a:lnTo>
                  <a:lnTo>
                    <a:pt x="1809" y="262"/>
                  </a:lnTo>
                  <a:lnTo>
                    <a:pt x="1821" y="262"/>
                  </a:lnTo>
                  <a:lnTo>
                    <a:pt x="1821" y="262"/>
                  </a:lnTo>
                  <a:lnTo>
                    <a:pt x="1844" y="262"/>
                  </a:lnTo>
                  <a:lnTo>
                    <a:pt x="1844" y="262"/>
                  </a:lnTo>
                  <a:lnTo>
                    <a:pt x="1856" y="262"/>
                  </a:lnTo>
                  <a:lnTo>
                    <a:pt x="1856" y="262"/>
                  </a:lnTo>
                  <a:lnTo>
                    <a:pt x="1880" y="262"/>
                  </a:lnTo>
                  <a:lnTo>
                    <a:pt x="1880" y="262"/>
                  </a:lnTo>
                  <a:lnTo>
                    <a:pt x="1892" y="262"/>
                  </a:lnTo>
                  <a:lnTo>
                    <a:pt x="1892" y="262"/>
                  </a:lnTo>
                  <a:lnTo>
                    <a:pt x="1939" y="262"/>
                  </a:lnTo>
                  <a:lnTo>
                    <a:pt x="1939" y="262"/>
                  </a:lnTo>
                  <a:lnTo>
                    <a:pt x="1951" y="262"/>
                  </a:lnTo>
                  <a:lnTo>
                    <a:pt x="1951" y="262"/>
                  </a:lnTo>
                  <a:lnTo>
                    <a:pt x="1974" y="262"/>
                  </a:lnTo>
                  <a:lnTo>
                    <a:pt x="1974" y="262"/>
                  </a:lnTo>
                  <a:lnTo>
                    <a:pt x="1986" y="262"/>
                  </a:lnTo>
                  <a:lnTo>
                    <a:pt x="1986" y="262"/>
                  </a:lnTo>
                  <a:lnTo>
                    <a:pt x="2012" y="262"/>
                  </a:lnTo>
                  <a:lnTo>
                    <a:pt x="2012" y="262"/>
                  </a:lnTo>
                  <a:lnTo>
                    <a:pt x="2024" y="262"/>
                  </a:lnTo>
                  <a:lnTo>
                    <a:pt x="2024" y="262"/>
                  </a:lnTo>
                  <a:lnTo>
                    <a:pt x="2047" y="262"/>
                  </a:lnTo>
                  <a:lnTo>
                    <a:pt x="2047" y="262"/>
                  </a:lnTo>
                  <a:lnTo>
                    <a:pt x="2059" y="262"/>
                  </a:lnTo>
                  <a:lnTo>
                    <a:pt x="2059" y="262"/>
                  </a:lnTo>
                  <a:lnTo>
                    <a:pt x="2082" y="262"/>
                  </a:lnTo>
                  <a:lnTo>
                    <a:pt x="2082" y="262"/>
                  </a:lnTo>
                  <a:lnTo>
                    <a:pt x="2094" y="262"/>
                  </a:lnTo>
                  <a:lnTo>
                    <a:pt x="2094" y="262"/>
                  </a:lnTo>
                  <a:lnTo>
                    <a:pt x="2118" y="262"/>
                  </a:lnTo>
                  <a:lnTo>
                    <a:pt x="2118" y="262"/>
                  </a:lnTo>
                  <a:lnTo>
                    <a:pt x="2130" y="262"/>
                  </a:lnTo>
                  <a:lnTo>
                    <a:pt x="2130" y="262"/>
                  </a:lnTo>
                  <a:lnTo>
                    <a:pt x="2153" y="262"/>
                  </a:lnTo>
                  <a:lnTo>
                    <a:pt x="2153" y="262"/>
                  </a:lnTo>
                  <a:lnTo>
                    <a:pt x="2165" y="262"/>
                  </a:lnTo>
                  <a:lnTo>
                    <a:pt x="2165" y="262"/>
                  </a:lnTo>
                  <a:lnTo>
                    <a:pt x="2188" y="262"/>
                  </a:lnTo>
                  <a:lnTo>
                    <a:pt x="2188" y="262"/>
                  </a:lnTo>
                  <a:lnTo>
                    <a:pt x="2200" y="262"/>
                  </a:lnTo>
                  <a:lnTo>
                    <a:pt x="2200" y="262"/>
                  </a:lnTo>
                  <a:lnTo>
                    <a:pt x="2224" y="262"/>
                  </a:lnTo>
                  <a:lnTo>
                    <a:pt x="2224" y="262"/>
                  </a:lnTo>
                  <a:lnTo>
                    <a:pt x="2250" y="262"/>
                  </a:lnTo>
                  <a:lnTo>
                    <a:pt x="2250" y="262"/>
                  </a:lnTo>
                  <a:lnTo>
                    <a:pt x="2297" y="262"/>
                  </a:lnTo>
                  <a:lnTo>
                    <a:pt x="2297" y="262"/>
                  </a:lnTo>
                  <a:lnTo>
                    <a:pt x="2320" y="262"/>
                  </a:lnTo>
                  <a:lnTo>
                    <a:pt x="2320" y="262"/>
                  </a:lnTo>
                  <a:lnTo>
                    <a:pt x="2344" y="262"/>
                  </a:lnTo>
                  <a:lnTo>
                    <a:pt x="2344" y="262"/>
                  </a:lnTo>
                  <a:lnTo>
                    <a:pt x="2344" y="250"/>
                  </a:lnTo>
                  <a:lnTo>
                    <a:pt x="2344" y="250"/>
                  </a:lnTo>
                  <a:lnTo>
                    <a:pt x="2344" y="238"/>
                  </a:lnTo>
                  <a:lnTo>
                    <a:pt x="2344" y="238"/>
                  </a:lnTo>
                  <a:lnTo>
                    <a:pt x="2344" y="227"/>
                  </a:lnTo>
                  <a:lnTo>
                    <a:pt x="2344" y="227"/>
                  </a:lnTo>
                  <a:lnTo>
                    <a:pt x="2344" y="201"/>
                  </a:lnTo>
                  <a:lnTo>
                    <a:pt x="2344" y="201"/>
                  </a:lnTo>
                  <a:lnTo>
                    <a:pt x="2320" y="201"/>
                  </a:lnTo>
                  <a:lnTo>
                    <a:pt x="2320" y="201"/>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947738" y="3194420"/>
              <a:ext cx="3700462" cy="602088"/>
            </a:xfrm>
            <a:custGeom>
              <a:avLst/>
              <a:gdLst>
                <a:gd name="T0" fmla="*/ 2260 w 2331"/>
                <a:gd name="T1" fmla="*/ 262 h 476"/>
                <a:gd name="T2" fmla="*/ 2236 w 2331"/>
                <a:gd name="T3" fmla="*/ 273 h 476"/>
                <a:gd name="T4" fmla="*/ 2177 w 2331"/>
                <a:gd name="T5" fmla="*/ 273 h 476"/>
                <a:gd name="T6" fmla="*/ 2135 w 2331"/>
                <a:gd name="T7" fmla="*/ 238 h 476"/>
                <a:gd name="T8" fmla="*/ 2104 w 2331"/>
                <a:gd name="T9" fmla="*/ 285 h 476"/>
                <a:gd name="T10" fmla="*/ 2076 w 2331"/>
                <a:gd name="T11" fmla="*/ 285 h 476"/>
                <a:gd name="T12" fmla="*/ 2053 w 2331"/>
                <a:gd name="T13" fmla="*/ 297 h 476"/>
                <a:gd name="T14" fmla="*/ 1998 w 2331"/>
                <a:gd name="T15" fmla="*/ 320 h 476"/>
                <a:gd name="T16" fmla="*/ 1951 w 2331"/>
                <a:gd name="T17" fmla="*/ 179 h 476"/>
                <a:gd name="T18" fmla="*/ 1904 w 2331"/>
                <a:gd name="T19" fmla="*/ 153 h 476"/>
                <a:gd name="T20" fmla="*/ 1796 w 2331"/>
                <a:gd name="T21" fmla="*/ 262 h 476"/>
                <a:gd name="T22" fmla="*/ 1737 w 2331"/>
                <a:gd name="T23" fmla="*/ 285 h 476"/>
                <a:gd name="T24" fmla="*/ 1702 w 2331"/>
                <a:gd name="T25" fmla="*/ 262 h 476"/>
                <a:gd name="T26" fmla="*/ 1654 w 2331"/>
                <a:gd name="T27" fmla="*/ 231 h 476"/>
                <a:gd name="T28" fmla="*/ 1628 w 2331"/>
                <a:gd name="T29" fmla="*/ 273 h 476"/>
                <a:gd name="T30" fmla="*/ 1581 w 2331"/>
                <a:gd name="T31" fmla="*/ 250 h 476"/>
                <a:gd name="T32" fmla="*/ 1570 w 2331"/>
                <a:gd name="T33" fmla="*/ 141 h 476"/>
                <a:gd name="T34" fmla="*/ 1534 w 2331"/>
                <a:gd name="T35" fmla="*/ 141 h 476"/>
                <a:gd name="T36" fmla="*/ 1499 w 2331"/>
                <a:gd name="T37" fmla="*/ 184 h 476"/>
                <a:gd name="T38" fmla="*/ 1475 w 2331"/>
                <a:gd name="T39" fmla="*/ 285 h 476"/>
                <a:gd name="T40" fmla="*/ 1428 w 2331"/>
                <a:gd name="T41" fmla="*/ 297 h 476"/>
                <a:gd name="T42" fmla="*/ 1428 w 2331"/>
                <a:gd name="T43" fmla="*/ 118 h 476"/>
                <a:gd name="T44" fmla="*/ 1355 w 2331"/>
                <a:gd name="T45" fmla="*/ 106 h 476"/>
                <a:gd name="T46" fmla="*/ 1343 w 2331"/>
                <a:gd name="T47" fmla="*/ 214 h 476"/>
                <a:gd name="T48" fmla="*/ 1320 w 2331"/>
                <a:gd name="T49" fmla="*/ 309 h 476"/>
                <a:gd name="T50" fmla="*/ 1296 w 2331"/>
                <a:gd name="T51" fmla="*/ 356 h 476"/>
                <a:gd name="T52" fmla="*/ 1280 w 2331"/>
                <a:gd name="T53" fmla="*/ 297 h 476"/>
                <a:gd name="T54" fmla="*/ 1237 w 2331"/>
                <a:gd name="T55" fmla="*/ 273 h 476"/>
                <a:gd name="T56" fmla="*/ 1195 w 2331"/>
                <a:gd name="T57" fmla="*/ 297 h 476"/>
                <a:gd name="T58" fmla="*/ 1171 w 2331"/>
                <a:gd name="T59" fmla="*/ 344 h 476"/>
                <a:gd name="T60" fmla="*/ 1141 w 2331"/>
                <a:gd name="T61" fmla="*/ 297 h 476"/>
                <a:gd name="T62" fmla="*/ 1105 w 2331"/>
                <a:gd name="T63" fmla="*/ 273 h 476"/>
                <a:gd name="T64" fmla="*/ 952 w 2331"/>
                <a:gd name="T65" fmla="*/ 344 h 476"/>
                <a:gd name="T66" fmla="*/ 903 w 2331"/>
                <a:gd name="T67" fmla="*/ 262 h 476"/>
                <a:gd name="T68" fmla="*/ 856 w 2331"/>
                <a:gd name="T69" fmla="*/ 59 h 476"/>
                <a:gd name="T70" fmla="*/ 750 w 2331"/>
                <a:gd name="T71" fmla="*/ 35 h 476"/>
                <a:gd name="T72" fmla="*/ 738 w 2331"/>
                <a:gd name="T73" fmla="*/ 141 h 476"/>
                <a:gd name="T74" fmla="*/ 726 w 2331"/>
                <a:gd name="T75" fmla="*/ 278 h 476"/>
                <a:gd name="T76" fmla="*/ 667 w 2331"/>
                <a:gd name="T77" fmla="*/ 273 h 476"/>
                <a:gd name="T78" fmla="*/ 618 w 2331"/>
                <a:gd name="T79" fmla="*/ 297 h 476"/>
                <a:gd name="T80" fmla="*/ 559 w 2331"/>
                <a:gd name="T81" fmla="*/ 320 h 476"/>
                <a:gd name="T82" fmla="*/ 523 w 2331"/>
                <a:gd name="T83" fmla="*/ 344 h 476"/>
                <a:gd name="T84" fmla="*/ 429 w 2331"/>
                <a:gd name="T85" fmla="*/ 339 h 476"/>
                <a:gd name="T86" fmla="*/ 380 w 2331"/>
                <a:gd name="T87" fmla="*/ 356 h 476"/>
                <a:gd name="T88" fmla="*/ 250 w 2331"/>
                <a:gd name="T89" fmla="*/ 356 h 476"/>
                <a:gd name="T90" fmla="*/ 179 w 2331"/>
                <a:gd name="T91" fmla="*/ 356 h 476"/>
                <a:gd name="T92" fmla="*/ 0 w 2331"/>
                <a:gd name="T93" fmla="*/ 415 h 476"/>
                <a:gd name="T94" fmla="*/ 142 w 2331"/>
                <a:gd name="T95" fmla="*/ 476 h 476"/>
                <a:gd name="T96" fmla="*/ 309 w 2331"/>
                <a:gd name="T97" fmla="*/ 476 h 476"/>
                <a:gd name="T98" fmla="*/ 488 w 2331"/>
                <a:gd name="T99" fmla="*/ 476 h 476"/>
                <a:gd name="T100" fmla="*/ 653 w 2331"/>
                <a:gd name="T101" fmla="*/ 476 h 476"/>
                <a:gd name="T102" fmla="*/ 832 w 2331"/>
                <a:gd name="T103" fmla="*/ 476 h 476"/>
                <a:gd name="T104" fmla="*/ 1023 w 2331"/>
                <a:gd name="T105" fmla="*/ 476 h 476"/>
                <a:gd name="T106" fmla="*/ 1178 w 2331"/>
                <a:gd name="T107" fmla="*/ 476 h 476"/>
                <a:gd name="T108" fmla="*/ 1367 w 2331"/>
                <a:gd name="T109" fmla="*/ 476 h 476"/>
                <a:gd name="T110" fmla="*/ 1546 w 2331"/>
                <a:gd name="T111" fmla="*/ 476 h 476"/>
                <a:gd name="T112" fmla="*/ 1713 w 2331"/>
                <a:gd name="T113" fmla="*/ 476 h 476"/>
                <a:gd name="T114" fmla="*/ 1892 w 2331"/>
                <a:gd name="T115" fmla="*/ 476 h 476"/>
                <a:gd name="T116" fmla="*/ 2081 w 2331"/>
                <a:gd name="T117" fmla="*/ 476 h 476"/>
                <a:gd name="T118" fmla="*/ 2236 w 2331"/>
                <a:gd name="T119"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31" h="476">
                  <a:moveTo>
                    <a:pt x="2331" y="226"/>
                  </a:moveTo>
                  <a:lnTo>
                    <a:pt x="2331" y="226"/>
                  </a:lnTo>
                  <a:lnTo>
                    <a:pt x="2295" y="226"/>
                  </a:lnTo>
                  <a:lnTo>
                    <a:pt x="2295" y="226"/>
                  </a:lnTo>
                  <a:lnTo>
                    <a:pt x="2283" y="226"/>
                  </a:lnTo>
                  <a:lnTo>
                    <a:pt x="2283" y="226"/>
                  </a:lnTo>
                  <a:lnTo>
                    <a:pt x="2272" y="226"/>
                  </a:lnTo>
                  <a:lnTo>
                    <a:pt x="2272" y="226"/>
                  </a:lnTo>
                  <a:lnTo>
                    <a:pt x="2272" y="231"/>
                  </a:lnTo>
                  <a:lnTo>
                    <a:pt x="2272" y="238"/>
                  </a:lnTo>
                  <a:lnTo>
                    <a:pt x="2272" y="238"/>
                  </a:lnTo>
                  <a:lnTo>
                    <a:pt x="2267" y="238"/>
                  </a:lnTo>
                  <a:lnTo>
                    <a:pt x="2262" y="236"/>
                  </a:lnTo>
                  <a:lnTo>
                    <a:pt x="2260" y="238"/>
                  </a:lnTo>
                  <a:lnTo>
                    <a:pt x="2260" y="238"/>
                  </a:lnTo>
                  <a:lnTo>
                    <a:pt x="2260" y="250"/>
                  </a:lnTo>
                  <a:lnTo>
                    <a:pt x="2260" y="250"/>
                  </a:lnTo>
                  <a:lnTo>
                    <a:pt x="2260" y="262"/>
                  </a:lnTo>
                  <a:lnTo>
                    <a:pt x="2260" y="262"/>
                  </a:lnTo>
                  <a:lnTo>
                    <a:pt x="2260" y="273"/>
                  </a:lnTo>
                  <a:lnTo>
                    <a:pt x="2260" y="273"/>
                  </a:lnTo>
                  <a:lnTo>
                    <a:pt x="2260" y="297"/>
                  </a:lnTo>
                  <a:lnTo>
                    <a:pt x="2260" y="297"/>
                  </a:lnTo>
                  <a:lnTo>
                    <a:pt x="2260" y="344"/>
                  </a:lnTo>
                  <a:lnTo>
                    <a:pt x="2260" y="344"/>
                  </a:lnTo>
                  <a:lnTo>
                    <a:pt x="2248" y="344"/>
                  </a:lnTo>
                  <a:lnTo>
                    <a:pt x="2248" y="344"/>
                  </a:lnTo>
                  <a:lnTo>
                    <a:pt x="2241" y="344"/>
                  </a:lnTo>
                  <a:lnTo>
                    <a:pt x="2236" y="344"/>
                  </a:lnTo>
                  <a:lnTo>
                    <a:pt x="2236" y="344"/>
                  </a:lnTo>
                  <a:lnTo>
                    <a:pt x="2236" y="332"/>
                  </a:lnTo>
                  <a:lnTo>
                    <a:pt x="2236" y="332"/>
                  </a:lnTo>
                  <a:lnTo>
                    <a:pt x="2236" y="320"/>
                  </a:lnTo>
                  <a:lnTo>
                    <a:pt x="2236" y="320"/>
                  </a:lnTo>
                  <a:lnTo>
                    <a:pt x="2236" y="273"/>
                  </a:lnTo>
                  <a:lnTo>
                    <a:pt x="2236" y="273"/>
                  </a:lnTo>
                  <a:lnTo>
                    <a:pt x="2225" y="273"/>
                  </a:lnTo>
                  <a:lnTo>
                    <a:pt x="2225" y="273"/>
                  </a:lnTo>
                  <a:lnTo>
                    <a:pt x="2213" y="273"/>
                  </a:lnTo>
                  <a:lnTo>
                    <a:pt x="2213" y="273"/>
                  </a:lnTo>
                  <a:lnTo>
                    <a:pt x="2201" y="273"/>
                  </a:lnTo>
                  <a:lnTo>
                    <a:pt x="2201" y="273"/>
                  </a:lnTo>
                  <a:lnTo>
                    <a:pt x="2194" y="273"/>
                  </a:lnTo>
                  <a:lnTo>
                    <a:pt x="2189" y="273"/>
                  </a:lnTo>
                  <a:lnTo>
                    <a:pt x="2189" y="273"/>
                  </a:lnTo>
                  <a:lnTo>
                    <a:pt x="2189" y="278"/>
                  </a:lnTo>
                  <a:lnTo>
                    <a:pt x="2189" y="285"/>
                  </a:lnTo>
                  <a:lnTo>
                    <a:pt x="2189" y="285"/>
                  </a:lnTo>
                  <a:lnTo>
                    <a:pt x="2187" y="285"/>
                  </a:lnTo>
                  <a:lnTo>
                    <a:pt x="2182" y="285"/>
                  </a:lnTo>
                  <a:lnTo>
                    <a:pt x="2177" y="285"/>
                  </a:lnTo>
                  <a:lnTo>
                    <a:pt x="2177" y="285"/>
                  </a:lnTo>
                  <a:lnTo>
                    <a:pt x="2177" y="273"/>
                  </a:lnTo>
                  <a:lnTo>
                    <a:pt x="2177" y="273"/>
                  </a:lnTo>
                  <a:lnTo>
                    <a:pt x="2177" y="262"/>
                  </a:lnTo>
                  <a:lnTo>
                    <a:pt x="2177" y="262"/>
                  </a:lnTo>
                  <a:lnTo>
                    <a:pt x="2177" y="255"/>
                  </a:lnTo>
                  <a:lnTo>
                    <a:pt x="2177" y="250"/>
                  </a:lnTo>
                  <a:lnTo>
                    <a:pt x="2177" y="250"/>
                  </a:lnTo>
                  <a:lnTo>
                    <a:pt x="2170" y="250"/>
                  </a:lnTo>
                  <a:lnTo>
                    <a:pt x="2166" y="250"/>
                  </a:lnTo>
                  <a:lnTo>
                    <a:pt x="2166" y="250"/>
                  </a:lnTo>
                  <a:lnTo>
                    <a:pt x="2166" y="243"/>
                  </a:lnTo>
                  <a:lnTo>
                    <a:pt x="2166" y="238"/>
                  </a:lnTo>
                  <a:lnTo>
                    <a:pt x="2166" y="238"/>
                  </a:lnTo>
                  <a:lnTo>
                    <a:pt x="2163" y="236"/>
                  </a:lnTo>
                  <a:lnTo>
                    <a:pt x="2159" y="238"/>
                  </a:lnTo>
                  <a:lnTo>
                    <a:pt x="2154" y="238"/>
                  </a:lnTo>
                  <a:lnTo>
                    <a:pt x="2154" y="238"/>
                  </a:lnTo>
                  <a:lnTo>
                    <a:pt x="2142" y="238"/>
                  </a:lnTo>
                  <a:lnTo>
                    <a:pt x="2142" y="238"/>
                  </a:lnTo>
                  <a:lnTo>
                    <a:pt x="2135" y="238"/>
                  </a:lnTo>
                  <a:lnTo>
                    <a:pt x="2130" y="238"/>
                  </a:lnTo>
                  <a:lnTo>
                    <a:pt x="2130" y="238"/>
                  </a:lnTo>
                  <a:lnTo>
                    <a:pt x="2128" y="240"/>
                  </a:lnTo>
                  <a:lnTo>
                    <a:pt x="2128" y="243"/>
                  </a:lnTo>
                  <a:lnTo>
                    <a:pt x="2130" y="250"/>
                  </a:lnTo>
                  <a:lnTo>
                    <a:pt x="2130" y="250"/>
                  </a:lnTo>
                  <a:lnTo>
                    <a:pt x="2116" y="250"/>
                  </a:lnTo>
                  <a:lnTo>
                    <a:pt x="2116" y="250"/>
                  </a:lnTo>
                  <a:lnTo>
                    <a:pt x="2111" y="250"/>
                  </a:lnTo>
                  <a:lnTo>
                    <a:pt x="2104" y="250"/>
                  </a:lnTo>
                  <a:lnTo>
                    <a:pt x="2104" y="250"/>
                  </a:lnTo>
                  <a:lnTo>
                    <a:pt x="2104" y="255"/>
                  </a:lnTo>
                  <a:lnTo>
                    <a:pt x="2104" y="262"/>
                  </a:lnTo>
                  <a:lnTo>
                    <a:pt x="2104" y="262"/>
                  </a:lnTo>
                  <a:lnTo>
                    <a:pt x="2104" y="266"/>
                  </a:lnTo>
                  <a:lnTo>
                    <a:pt x="2104" y="273"/>
                  </a:lnTo>
                  <a:lnTo>
                    <a:pt x="2104" y="273"/>
                  </a:lnTo>
                  <a:lnTo>
                    <a:pt x="2104" y="285"/>
                  </a:lnTo>
                  <a:lnTo>
                    <a:pt x="2104" y="285"/>
                  </a:lnTo>
                  <a:lnTo>
                    <a:pt x="2104" y="309"/>
                  </a:lnTo>
                  <a:lnTo>
                    <a:pt x="2104" y="309"/>
                  </a:lnTo>
                  <a:lnTo>
                    <a:pt x="2100" y="309"/>
                  </a:lnTo>
                  <a:lnTo>
                    <a:pt x="2093" y="309"/>
                  </a:lnTo>
                  <a:lnTo>
                    <a:pt x="2093" y="309"/>
                  </a:lnTo>
                  <a:lnTo>
                    <a:pt x="2093" y="304"/>
                  </a:lnTo>
                  <a:lnTo>
                    <a:pt x="2093" y="297"/>
                  </a:lnTo>
                  <a:lnTo>
                    <a:pt x="2093" y="297"/>
                  </a:lnTo>
                  <a:lnTo>
                    <a:pt x="2088" y="297"/>
                  </a:lnTo>
                  <a:lnTo>
                    <a:pt x="2081" y="297"/>
                  </a:lnTo>
                  <a:lnTo>
                    <a:pt x="2081" y="297"/>
                  </a:lnTo>
                  <a:lnTo>
                    <a:pt x="2081" y="295"/>
                  </a:lnTo>
                  <a:lnTo>
                    <a:pt x="2081" y="292"/>
                  </a:lnTo>
                  <a:lnTo>
                    <a:pt x="2081" y="285"/>
                  </a:lnTo>
                  <a:lnTo>
                    <a:pt x="2081" y="285"/>
                  </a:lnTo>
                  <a:lnTo>
                    <a:pt x="2078" y="285"/>
                  </a:lnTo>
                  <a:lnTo>
                    <a:pt x="2076" y="285"/>
                  </a:lnTo>
                  <a:lnTo>
                    <a:pt x="2069" y="285"/>
                  </a:lnTo>
                  <a:lnTo>
                    <a:pt x="2069" y="285"/>
                  </a:lnTo>
                  <a:lnTo>
                    <a:pt x="2069" y="283"/>
                  </a:lnTo>
                  <a:lnTo>
                    <a:pt x="2069" y="278"/>
                  </a:lnTo>
                  <a:lnTo>
                    <a:pt x="2069" y="273"/>
                  </a:lnTo>
                  <a:lnTo>
                    <a:pt x="2069" y="273"/>
                  </a:lnTo>
                  <a:lnTo>
                    <a:pt x="2069" y="266"/>
                  </a:lnTo>
                  <a:lnTo>
                    <a:pt x="2071" y="264"/>
                  </a:lnTo>
                  <a:lnTo>
                    <a:pt x="2069" y="262"/>
                  </a:lnTo>
                  <a:lnTo>
                    <a:pt x="2069" y="262"/>
                  </a:lnTo>
                  <a:lnTo>
                    <a:pt x="2057" y="262"/>
                  </a:lnTo>
                  <a:lnTo>
                    <a:pt x="2057" y="262"/>
                  </a:lnTo>
                  <a:lnTo>
                    <a:pt x="2057" y="266"/>
                  </a:lnTo>
                  <a:lnTo>
                    <a:pt x="2057" y="273"/>
                  </a:lnTo>
                  <a:lnTo>
                    <a:pt x="2057" y="273"/>
                  </a:lnTo>
                  <a:lnTo>
                    <a:pt x="2057" y="297"/>
                  </a:lnTo>
                  <a:lnTo>
                    <a:pt x="2057" y="297"/>
                  </a:lnTo>
                  <a:lnTo>
                    <a:pt x="2053" y="297"/>
                  </a:lnTo>
                  <a:lnTo>
                    <a:pt x="2048" y="297"/>
                  </a:lnTo>
                  <a:lnTo>
                    <a:pt x="2046" y="297"/>
                  </a:lnTo>
                  <a:lnTo>
                    <a:pt x="2046" y="297"/>
                  </a:lnTo>
                  <a:lnTo>
                    <a:pt x="2046" y="304"/>
                  </a:lnTo>
                  <a:lnTo>
                    <a:pt x="2046" y="309"/>
                  </a:lnTo>
                  <a:lnTo>
                    <a:pt x="2046" y="309"/>
                  </a:lnTo>
                  <a:lnTo>
                    <a:pt x="2041" y="309"/>
                  </a:lnTo>
                  <a:lnTo>
                    <a:pt x="2034" y="309"/>
                  </a:lnTo>
                  <a:lnTo>
                    <a:pt x="2034" y="309"/>
                  </a:lnTo>
                  <a:lnTo>
                    <a:pt x="2027" y="309"/>
                  </a:lnTo>
                  <a:lnTo>
                    <a:pt x="2022" y="309"/>
                  </a:lnTo>
                  <a:lnTo>
                    <a:pt x="2022" y="309"/>
                  </a:lnTo>
                  <a:lnTo>
                    <a:pt x="2022" y="311"/>
                  </a:lnTo>
                  <a:lnTo>
                    <a:pt x="2022" y="316"/>
                  </a:lnTo>
                  <a:lnTo>
                    <a:pt x="2022" y="320"/>
                  </a:lnTo>
                  <a:lnTo>
                    <a:pt x="2022" y="320"/>
                  </a:lnTo>
                  <a:lnTo>
                    <a:pt x="1998" y="320"/>
                  </a:lnTo>
                  <a:lnTo>
                    <a:pt x="1998" y="320"/>
                  </a:lnTo>
                  <a:lnTo>
                    <a:pt x="1951" y="320"/>
                  </a:lnTo>
                  <a:lnTo>
                    <a:pt x="1951" y="320"/>
                  </a:lnTo>
                  <a:lnTo>
                    <a:pt x="1951" y="309"/>
                  </a:lnTo>
                  <a:lnTo>
                    <a:pt x="1951" y="309"/>
                  </a:lnTo>
                  <a:lnTo>
                    <a:pt x="1951" y="285"/>
                  </a:lnTo>
                  <a:lnTo>
                    <a:pt x="1951" y="285"/>
                  </a:lnTo>
                  <a:lnTo>
                    <a:pt x="1951" y="273"/>
                  </a:lnTo>
                  <a:lnTo>
                    <a:pt x="1951" y="273"/>
                  </a:lnTo>
                  <a:lnTo>
                    <a:pt x="1951" y="250"/>
                  </a:lnTo>
                  <a:lnTo>
                    <a:pt x="1951" y="250"/>
                  </a:lnTo>
                  <a:lnTo>
                    <a:pt x="1951" y="238"/>
                  </a:lnTo>
                  <a:lnTo>
                    <a:pt x="1951" y="238"/>
                  </a:lnTo>
                  <a:lnTo>
                    <a:pt x="1951" y="214"/>
                  </a:lnTo>
                  <a:lnTo>
                    <a:pt x="1951" y="214"/>
                  </a:lnTo>
                  <a:lnTo>
                    <a:pt x="1951" y="203"/>
                  </a:lnTo>
                  <a:lnTo>
                    <a:pt x="1951" y="203"/>
                  </a:lnTo>
                  <a:lnTo>
                    <a:pt x="1951" y="179"/>
                  </a:lnTo>
                  <a:lnTo>
                    <a:pt x="1951" y="179"/>
                  </a:lnTo>
                  <a:lnTo>
                    <a:pt x="1951" y="153"/>
                  </a:lnTo>
                  <a:lnTo>
                    <a:pt x="1951" y="153"/>
                  </a:lnTo>
                  <a:lnTo>
                    <a:pt x="1944" y="153"/>
                  </a:lnTo>
                  <a:lnTo>
                    <a:pt x="1942" y="156"/>
                  </a:lnTo>
                  <a:lnTo>
                    <a:pt x="1939" y="153"/>
                  </a:lnTo>
                  <a:lnTo>
                    <a:pt x="1939" y="153"/>
                  </a:lnTo>
                  <a:lnTo>
                    <a:pt x="1939" y="148"/>
                  </a:lnTo>
                  <a:lnTo>
                    <a:pt x="1939" y="141"/>
                  </a:lnTo>
                  <a:lnTo>
                    <a:pt x="1939" y="141"/>
                  </a:lnTo>
                  <a:lnTo>
                    <a:pt x="1932" y="141"/>
                  </a:lnTo>
                  <a:lnTo>
                    <a:pt x="1928" y="141"/>
                  </a:lnTo>
                  <a:lnTo>
                    <a:pt x="1928" y="141"/>
                  </a:lnTo>
                  <a:lnTo>
                    <a:pt x="1916" y="141"/>
                  </a:lnTo>
                  <a:lnTo>
                    <a:pt x="1916" y="141"/>
                  </a:lnTo>
                  <a:lnTo>
                    <a:pt x="1904" y="141"/>
                  </a:lnTo>
                  <a:lnTo>
                    <a:pt x="1904" y="141"/>
                  </a:lnTo>
                  <a:lnTo>
                    <a:pt x="1904" y="148"/>
                  </a:lnTo>
                  <a:lnTo>
                    <a:pt x="1904" y="153"/>
                  </a:lnTo>
                  <a:lnTo>
                    <a:pt x="1904" y="153"/>
                  </a:lnTo>
                  <a:lnTo>
                    <a:pt x="1892" y="153"/>
                  </a:lnTo>
                  <a:lnTo>
                    <a:pt x="1892" y="153"/>
                  </a:lnTo>
                  <a:lnTo>
                    <a:pt x="1878" y="153"/>
                  </a:lnTo>
                  <a:lnTo>
                    <a:pt x="1878" y="153"/>
                  </a:lnTo>
                  <a:lnTo>
                    <a:pt x="1866" y="153"/>
                  </a:lnTo>
                  <a:lnTo>
                    <a:pt x="1866" y="153"/>
                  </a:lnTo>
                  <a:lnTo>
                    <a:pt x="1843" y="153"/>
                  </a:lnTo>
                  <a:lnTo>
                    <a:pt x="1843" y="153"/>
                  </a:lnTo>
                  <a:lnTo>
                    <a:pt x="1796" y="153"/>
                  </a:lnTo>
                  <a:lnTo>
                    <a:pt x="1796" y="153"/>
                  </a:lnTo>
                  <a:lnTo>
                    <a:pt x="1796" y="165"/>
                  </a:lnTo>
                  <a:lnTo>
                    <a:pt x="1796" y="165"/>
                  </a:lnTo>
                  <a:lnTo>
                    <a:pt x="1796" y="191"/>
                  </a:lnTo>
                  <a:lnTo>
                    <a:pt x="1796" y="191"/>
                  </a:lnTo>
                  <a:lnTo>
                    <a:pt x="1796" y="238"/>
                  </a:lnTo>
                  <a:lnTo>
                    <a:pt x="1796" y="238"/>
                  </a:lnTo>
                  <a:lnTo>
                    <a:pt x="1796" y="262"/>
                  </a:lnTo>
                  <a:lnTo>
                    <a:pt x="1796" y="262"/>
                  </a:lnTo>
                  <a:lnTo>
                    <a:pt x="1796" y="273"/>
                  </a:lnTo>
                  <a:lnTo>
                    <a:pt x="1796" y="273"/>
                  </a:lnTo>
                  <a:lnTo>
                    <a:pt x="1796" y="297"/>
                  </a:lnTo>
                  <a:lnTo>
                    <a:pt x="1796" y="297"/>
                  </a:lnTo>
                  <a:lnTo>
                    <a:pt x="1784" y="297"/>
                  </a:lnTo>
                  <a:lnTo>
                    <a:pt x="1784" y="297"/>
                  </a:lnTo>
                  <a:lnTo>
                    <a:pt x="1760" y="297"/>
                  </a:lnTo>
                  <a:lnTo>
                    <a:pt x="1760" y="297"/>
                  </a:lnTo>
                  <a:lnTo>
                    <a:pt x="1760" y="290"/>
                  </a:lnTo>
                  <a:lnTo>
                    <a:pt x="1760" y="287"/>
                  </a:lnTo>
                  <a:lnTo>
                    <a:pt x="1760" y="285"/>
                  </a:lnTo>
                  <a:lnTo>
                    <a:pt x="1760" y="285"/>
                  </a:lnTo>
                  <a:lnTo>
                    <a:pt x="1756" y="285"/>
                  </a:lnTo>
                  <a:lnTo>
                    <a:pt x="1749" y="285"/>
                  </a:lnTo>
                  <a:lnTo>
                    <a:pt x="1749" y="285"/>
                  </a:lnTo>
                  <a:lnTo>
                    <a:pt x="1737" y="285"/>
                  </a:lnTo>
                  <a:lnTo>
                    <a:pt x="1737" y="285"/>
                  </a:lnTo>
                  <a:lnTo>
                    <a:pt x="1725" y="285"/>
                  </a:lnTo>
                  <a:lnTo>
                    <a:pt x="1725" y="285"/>
                  </a:lnTo>
                  <a:lnTo>
                    <a:pt x="1725" y="278"/>
                  </a:lnTo>
                  <a:lnTo>
                    <a:pt x="1725" y="276"/>
                  </a:lnTo>
                  <a:lnTo>
                    <a:pt x="1725" y="273"/>
                  </a:lnTo>
                  <a:lnTo>
                    <a:pt x="1725" y="273"/>
                  </a:lnTo>
                  <a:lnTo>
                    <a:pt x="1723" y="273"/>
                  </a:lnTo>
                  <a:lnTo>
                    <a:pt x="1718" y="273"/>
                  </a:lnTo>
                  <a:lnTo>
                    <a:pt x="1713" y="273"/>
                  </a:lnTo>
                  <a:lnTo>
                    <a:pt x="1713" y="273"/>
                  </a:lnTo>
                  <a:lnTo>
                    <a:pt x="1706" y="273"/>
                  </a:lnTo>
                  <a:lnTo>
                    <a:pt x="1704" y="273"/>
                  </a:lnTo>
                  <a:lnTo>
                    <a:pt x="1702" y="273"/>
                  </a:lnTo>
                  <a:lnTo>
                    <a:pt x="1702" y="273"/>
                  </a:lnTo>
                  <a:lnTo>
                    <a:pt x="1699" y="271"/>
                  </a:lnTo>
                  <a:lnTo>
                    <a:pt x="1702" y="266"/>
                  </a:lnTo>
                  <a:lnTo>
                    <a:pt x="1702" y="262"/>
                  </a:lnTo>
                  <a:lnTo>
                    <a:pt x="1702" y="262"/>
                  </a:lnTo>
                  <a:lnTo>
                    <a:pt x="1702" y="255"/>
                  </a:lnTo>
                  <a:lnTo>
                    <a:pt x="1702" y="250"/>
                  </a:lnTo>
                  <a:lnTo>
                    <a:pt x="1702" y="250"/>
                  </a:lnTo>
                  <a:lnTo>
                    <a:pt x="1702" y="243"/>
                  </a:lnTo>
                  <a:lnTo>
                    <a:pt x="1702" y="238"/>
                  </a:lnTo>
                  <a:lnTo>
                    <a:pt x="1702" y="238"/>
                  </a:lnTo>
                  <a:lnTo>
                    <a:pt x="1690" y="238"/>
                  </a:lnTo>
                  <a:lnTo>
                    <a:pt x="1690" y="238"/>
                  </a:lnTo>
                  <a:lnTo>
                    <a:pt x="1683" y="238"/>
                  </a:lnTo>
                  <a:lnTo>
                    <a:pt x="1678" y="238"/>
                  </a:lnTo>
                  <a:lnTo>
                    <a:pt x="1678" y="238"/>
                  </a:lnTo>
                  <a:lnTo>
                    <a:pt x="1676" y="236"/>
                  </a:lnTo>
                  <a:lnTo>
                    <a:pt x="1678" y="231"/>
                  </a:lnTo>
                  <a:lnTo>
                    <a:pt x="1678" y="226"/>
                  </a:lnTo>
                  <a:lnTo>
                    <a:pt x="1678" y="226"/>
                  </a:lnTo>
                  <a:lnTo>
                    <a:pt x="1654" y="226"/>
                  </a:lnTo>
                  <a:lnTo>
                    <a:pt x="1654" y="226"/>
                  </a:lnTo>
                  <a:lnTo>
                    <a:pt x="1654" y="231"/>
                  </a:lnTo>
                  <a:lnTo>
                    <a:pt x="1654" y="236"/>
                  </a:lnTo>
                  <a:lnTo>
                    <a:pt x="1654" y="238"/>
                  </a:lnTo>
                  <a:lnTo>
                    <a:pt x="1654" y="238"/>
                  </a:lnTo>
                  <a:lnTo>
                    <a:pt x="1652" y="238"/>
                  </a:lnTo>
                  <a:lnTo>
                    <a:pt x="1647" y="238"/>
                  </a:lnTo>
                  <a:lnTo>
                    <a:pt x="1643" y="238"/>
                  </a:lnTo>
                  <a:lnTo>
                    <a:pt x="1643" y="238"/>
                  </a:lnTo>
                  <a:lnTo>
                    <a:pt x="1636" y="238"/>
                  </a:lnTo>
                  <a:lnTo>
                    <a:pt x="1631" y="236"/>
                  </a:lnTo>
                  <a:lnTo>
                    <a:pt x="1628" y="238"/>
                  </a:lnTo>
                  <a:lnTo>
                    <a:pt x="1628" y="238"/>
                  </a:lnTo>
                  <a:lnTo>
                    <a:pt x="1628" y="243"/>
                  </a:lnTo>
                  <a:lnTo>
                    <a:pt x="1628" y="250"/>
                  </a:lnTo>
                  <a:lnTo>
                    <a:pt x="1628" y="250"/>
                  </a:lnTo>
                  <a:lnTo>
                    <a:pt x="1628" y="255"/>
                  </a:lnTo>
                  <a:lnTo>
                    <a:pt x="1628" y="262"/>
                  </a:lnTo>
                  <a:lnTo>
                    <a:pt x="1628" y="262"/>
                  </a:lnTo>
                  <a:lnTo>
                    <a:pt x="1628" y="273"/>
                  </a:lnTo>
                  <a:lnTo>
                    <a:pt x="1628" y="273"/>
                  </a:lnTo>
                  <a:lnTo>
                    <a:pt x="1631" y="280"/>
                  </a:lnTo>
                  <a:lnTo>
                    <a:pt x="1628" y="285"/>
                  </a:lnTo>
                  <a:lnTo>
                    <a:pt x="1628" y="285"/>
                  </a:lnTo>
                  <a:lnTo>
                    <a:pt x="1624" y="285"/>
                  </a:lnTo>
                  <a:lnTo>
                    <a:pt x="1617" y="285"/>
                  </a:lnTo>
                  <a:lnTo>
                    <a:pt x="1617" y="285"/>
                  </a:lnTo>
                  <a:lnTo>
                    <a:pt x="1617" y="278"/>
                  </a:lnTo>
                  <a:lnTo>
                    <a:pt x="1617" y="273"/>
                  </a:lnTo>
                  <a:lnTo>
                    <a:pt x="1617" y="273"/>
                  </a:lnTo>
                  <a:lnTo>
                    <a:pt x="1593" y="273"/>
                  </a:lnTo>
                  <a:lnTo>
                    <a:pt x="1593" y="273"/>
                  </a:lnTo>
                  <a:lnTo>
                    <a:pt x="1588" y="273"/>
                  </a:lnTo>
                  <a:lnTo>
                    <a:pt x="1581" y="273"/>
                  </a:lnTo>
                  <a:lnTo>
                    <a:pt x="1581" y="273"/>
                  </a:lnTo>
                  <a:lnTo>
                    <a:pt x="1581" y="262"/>
                  </a:lnTo>
                  <a:lnTo>
                    <a:pt x="1581" y="262"/>
                  </a:lnTo>
                  <a:lnTo>
                    <a:pt x="1581" y="250"/>
                  </a:lnTo>
                  <a:lnTo>
                    <a:pt x="1581" y="250"/>
                  </a:lnTo>
                  <a:lnTo>
                    <a:pt x="1581" y="238"/>
                  </a:lnTo>
                  <a:lnTo>
                    <a:pt x="1581" y="238"/>
                  </a:lnTo>
                  <a:lnTo>
                    <a:pt x="1581" y="191"/>
                  </a:lnTo>
                  <a:lnTo>
                    <a:pt x="1581" y="191"/>
                  </a:lnTo>
                  <a:lnTo>
                    <a:pt x="1581" y="179"/>
                  </a:lnTo>
                  <a:lnTo>
                    <a:pt x="1581" y="179"/>
                  </a:lnTo>
                  <a:lnTo>
                    <a:pt x="1581" y="172"/>
                  </a:lnTo>
                  <a:lnTo>
                    <a:pt x="1581" y="165"/>
                  </a:lnTo>
                  <a:lnTo>
                    <a:pt x="1581" y="165"/>
                  </a:lnTo>
                  <a:lnTo>
                    <a:pt x="1577" y="165"/>
                  </a:lnTo>
                  <a:lnTo>
                    <a:pt x="1570" y="165"/>
                  </a:lnTo>
                  <a:lnTo>
                    <a:pt x="1570" y="165"/>
                  </a:lnTo>
                  <a:lnTo>
                    <a:pt x="1570" y="153"/>
                  </a:lnTo>
                  <a:lnTo>
                    <a:pt x="1570" y="153"/>
                  </a:lnTo>
                  <a:lnTo>
                    <a:pt x="1570" y="148"/>
                  </a:lnTo>
                  <a:lnTo>
                    <a:pt x="1570" y="141"/>
                  </a:lnTo>
                  <a:lnTo>
                    <a:pt x="1570" y="141"/>
                  </a:lnTo>
                  <a:lnTo>
                    <a:pt x="1565" y="141"/>
                  </a:lnTo>
                  <a:lnTo>
                    <a:pt x="1558" y="141"/>
                  </a:lnTo>
                  <a:lnTo>
                    <a:pt x="1558" y="141"/>
                  </a:lnTo>
                  <a:lnTo>
                    <a:pt x="1558" y="139"/>
                  </a:lnTo>
                  <a:lnTo>
                    <a:pt x="1558" y="137"/>
                  </a:lnTo>
                  <a:lnTo>
                    <a:pt x="1558" y="130"/>
                  </a:lnTo>
                  <a:lnTo>
                    <a:pt x="1558" y="130"/>
                  </a:lnTo>
                  <a:lnTo>
                    <a:pt x="1558" y="106"/>
                  </a:lnTo>
                  <a:lnTo>
                    <a:pt x="1558" y="106"/>
                  </a:lnTo>
                  <a:lnTo>
                    <a:pt x="1534" y="106"/>
                  </a:lnTo>
                  <a:lnTo>
                    <a:pt x="1534" y="106"/>
                  </a:lnTo>
                  <a:lnTo>
                    <a:pt x="1534" y="118"/>
                  </a:lnTo>
                  <a:lnTo>
                    <a:pt x="1534" y="118"/>
                  </a:lnTo>
                  <a:lnTo>
                    <a:pt x="1534" y="130"/>
                  </a:lnTo>
                  <a:lnTo>
                    <a:pt x="1534" y="130"/>
                  </a:lnTo>
                  <a:lnTo>
                    <a:pt x="1534" y="137"/>
                  </a:lnTo>
                  <a:lnTo>
                    <a:pt x="1534" y="141"/>
                  </a:lnTo>
                  <a:lnTo>
                    <a:pt x="1534" y="141"/>
                  </a:lnTo>
                  <a:lnTo>
                    <a:pt x="1527" y="141"/>
                  </a:lnTo>
                  <a:lnTo>
                    <a:pt x="1522" y="141"/>
                  </a:lnTo>
                  <a:lnTo>
                    <a:pt x="1522" y="141"/>
                  </a:lnTo>
                  <a:lnTo>
                    <a:pt x="1522" y="148"/>
                  </a:lnTo>
                  <a:lnTo>
                    <a:pt x="1522" y="153"/>
                  </a:lnTo>
                  <a:lnTo>
                    <a:pt x="1522" y="153"/>
                  </a:lnTo>
                  <a:lnTo>
                    <a:pt x="1515" y="153"/>
                  </a:lnTo>
                  <a:lnTo>
                    <a:pt x="1511" y="153"/>
                  </a:lnTo>
                  <a:lnTo>
                    <a:pt x="1511" y="153"/>
                  </a:lnTo>
                  <a:lnTo>
                    <a:pt x="1511" y="160"/>
                  </a:lnTo>
                  <a:lnTo>
                    <a:pt x="1511" y="165"/>
                  </a:lnTo>
                  <a:lnTo>
                    <a:pt x="1511" y="165"/>
                  </a:lnTo>
                  <a:lnTo>
                    <a:pt x="1511" y="179"/>
                  </a:lnTo>
                  <a:lnTo>
                    <a:pt x="1511" y="179"/>
                  </a:lnTo>
                  <a:lnTo>
                    <a:pt x="1504" y="177"/>
                  </a:lnTo>
                  <a:lnTo>
                    <a:pt x="1499" y="179"/>
                  </a:lnTo>
                  <a:lnTo>
                    <a:pt x="1499" y="179"/>
                  </a:lnTo>
                  <a:lnTo>
                    <a:pt x="1499" y="184"/>
                  </a:lnTo>
                  <a:lnTo>
                    <a:pt x="1499" y="191"/>
                  </a:lnTo>
                  <a:lnTo>
                    <a:pt x="1499" y="191"/>
                  </a:lnTo>
                  <a:lnTo>
                    <a:pt x="1499" y="203"/>
                  </a:lnTo>
                  <a:lnTo>
                    <a:pt x="1499" y="203"/>
                  </a:lnTo>
                  <a:lnTo>
                    <a:pt x="1499" y="226"/>
                  </a:lnTo>
                  <a:lnTo>
                    <a:pt x="1499" y="226"/>
                  </a:lnTo>
                  <a:lnTo>
                    <a:pt x="1499" y="273"/>
                  </a:lnTo>
                  <a:lnTo>
                    <a:pt x="1499" y="273"/>
                  </a:lnTo>
                  <a:lnTo>
                    <a:pt x="1492" y="273"/>
                  </a:lnTo>
                  <a:lnTo>
                    <a:pt x="1489" y="273"/>
                  </a:lnTo>
                  <a:lnTo>
                    <a:pt x="1487" y="273"/>
                  </a:lnTo>
                  <a:lnTo>
                    <a:pt x="1487" y="273"/>
                  </a:lnTo>
                  <a:lnTo>
                    <a:pt x="1487" y="280"/>
                  </a:lnTo>
                  <a:lnTo>
                    <a:pt x="1487" y="285"/>
                  </a:lnTo>
                  <a:lnTo>
                    <a:pt x="1487" y="285"/>
                  </a:lnTo>
                  <a:lnTo>
                    <a:pt x="1480" y="285"/>
                  </a:lnTo>
                  <a:lnTo>
                    <a:pt x="1475" y="285"/>
                  </a:lnTo>
                  <a:lnTo>
                    <a:pt x="1475" y="285"/>
                  </a:lnTo>
                  <a:lnTo>
                    <a:pt x="1468" y="285"/>
                  </a:lnTo>
                  <a:lnTo>
                    <a:pt x="1464" y="285"/>
                  </a:lnTo>
                  <a:lnTo>
                    <a:pt x="1464" y="285"/>
                  </a:lnTo>
                  <a:lnTo>
                    <a:pt x="1464" y="287"/>
                  </a:lnTo>
                  <a:lnTo>
                    <a:pt x="1464" y="290"/>
                  </a:lnTo>
                  <a:lnTo>
                    <a:pt x="1464" y="297"/>
                  </a:lnTo>
                  <a:lnTo>
                    <a:pt x="1464" y="297"/>
                  </a:lnTo>
                  <a:lnTo>
                    <a:pt x="1456" y="297"/>
                  </a:lnTo>
                  <a:lnTo>
                    <a:pt x="1452" y="297"/>
                  </a:lnTo>
                  <a:lnTo>
                    <a:pt x="1452" y="297"/>
                  </a:lnTo>
                  <a:lnTo>
                    <a:pt x="1452" y="302"/>
                  </a:lnTo>
                  <a:lnTo>
                    <a:pt x="1452" y="309"/>
                  </a:lnTo>
                  <a:lnTo>
                    <a:pt x="1452" y="309"/>
                  </a:lnTo>
                  <a:lnTo>
                    <a:pt x="1452" y="320"/>
                  </a:lnTo>
                  <a:lnTo>
                    <a:pt x="1452" y="320"/>
                  </a:lnTo>
                  <a:lnTo>
                    <a:pt x="1428" y="320"/>
                  </a:lnTo>
                  <a:lnTo>
                    <a:pt x="1428" y="320"/>
                  </a:lnTo>
                  <a:lnTo>
                    <a:pt x="1428" y="297"/>
                  </a:lnTo>
                  <a:lnTo>
                    <a:pt x="1428" y="297"/>
                  </a:lnTo>
                  <a:lnTo>
                    <a:pt x="1428" y="285"/>
                  </a:lnTo>
                  <a:lnTo>
                    <a:pt x="1428" y="285"/>
                  </a:lnTo>
                  <a:lnTo>
                    <a:pt x="1428" y="262"/>
                  </a:lnTo>
                  <a:lnTo>
                    <a:pt x="1428" y="262"/>
                  </a:lnTo>
                  <a:lnTo>
                    <a:pt x="1428" y="214"/>
                  </a:lnTo>
                  <a:lnTo>
                    <a:pt x="1428" y="214"/>
                  </a:lnTo>
                  <a:lnTo>
                    <a:pt x="1428" y="191"/>
                  </a:lnTo>
                  <a:lnTo>
                    <a:pt x="1428" y="191"/>
                  </a:lnTo>
                  <a:lnTo>
                    <a:pt x="1428" y="179"/>
                  </a:lnTo>
                  <a:lnTo>
                    <a:pt x="1428" y="179"/>
                  </a:lnTo>
                  <a:lnTo>
                    <a:pt x="1428" y="153"/>
                  </a:lnTo>
                  <a:lnTo>
                    <a:pt x="1428" y="153"/>
                  </a:lnTo>
                  <a:lnTo>
                    <a:pt x="1428" y="141"/>
                  </a:lnTo>
                  <a:lnTo>
                    <a:pt x="1428" y="141"/>
                  </a:lnTo>
                  <a:lnTo>
                    <a:pt x="1428" y="130"/>
                  </a:lnTo>
                  <a:lnTo>
                    <a:pt x="1428" y="130"/>
                  </a:lnTo>
                  <a:lnTo>
                    <a:pt x="1428" y="118"/>
                  </a:lnTo>
                  <a:lnTo>
                    <a:pt x="1428" y="118"/>
                  </a:lnTo>
                  <a:lnTo>
                    <a:pt x="1421" y="118"/>
                  </a:lnTo>
                  <a:lnTo>
                    <a:pt x="1416" y="118"/>
                  </a:lnTo>
                  <a:lnTo>
                    <a:pt x="1416" y="118"/>
                  </a:lnTo>
                  <a:lnTo>
                    <a:pt x="1416" y="106"/>
                  </a:lnTo>
                  <a:lnTo>
                    <a:pt x="1416" y="106"/>
                  </a:lnTo>
                  <a:lnTo>
                    <a:pt x="1416" y="94"/>
                  </a:lnTo>
                  <a:lnTo>
                    <a:pt x="1416" y="94"/>
                  </a:lnTo>
                  <a:lnTo>
                    <a:pt x="1390" y="94"/>
                  </a:lnTo>
                  <a:lnTo>
                    <a:pt x="1390" y="94"/>
                  </a:lnTo>
                  <a:lnTo>
                    <a:pt x="1367" y="94"/>
                  </a:lnTo>
                  <a:lnTo>
                    <a:pt x="1367" y="94"/>
                  </a:lnTo>
                  <a:lnTo>
                    <a:pt x="1362" y="94"/>
                  </a:lnTo>
                  <a:lnTo>
                    <a:pt x="1358" y="94"/>
                  </a:lnTo>
                  <a:lnTo>
                    <a:pt x="1355" y="94"/>
                  </a:lnTo>
                  <a:lnTo>
                    <a:pt x="1355" y="94"/>
                  </a:lnTo>
                  <a:lnTo>
                    <a:pt x="1355" y="101"/>
                  </a:lnTo>
                  <a:lnTo>
                    <a:pt x="1355" y="106"/>
                  </a:lnTo>
                  <a:lnTo>
                    <a:pt x="1355" y="106"/>
                  </a:lnTo>
                  <a:lnTo>
                    <a:pt x="1358" y="113"/>
                  </a:lnTo>
                  <a:lnTo>
                    <a:pt x="1355" y="118"/>
                  </a:lnTo>
                  <a:lnTo>
                    <a:pt x="1355" y="118"/>
                  </a:lnTo>
                  <a:lnTo>
                    <a:pt x="1350" y="118"/>
                  </a:lnTo>
                  <a:lnTo>
                    <a:pt x="1343" y="118"/>
                  </a:lnTo>
                  <a:lnTo>
                    <a:pt x="1343" y="118"/>
                  </a:lnTo>
                  <a:lnTo>
                    <a:pt x="1343" y="130"/>
                  </a:lnTo>
                  <a:lnTo>
                    <a:pt x="1343" y="130"/>
                  </a:lnTo>
                  <a:lnTo>
                    <a:pt x="1343" y="141"/>
                  </a:lnTo>
                  <a:lnTo>
                    <a:pt x="1343" y="141"/>
                  </a:lnTo>
                  <a:lnTo>
                    <a:pt x="1343" y="153"/>
                  </a:lnTo>
                  <a:lnTo>
                    <a:pt x="1343" y="153"/>
                  </a:lnTo>
                  <a:lnTo>
                    <a:pt x="1343" y="179"/>
                  </a:lnTo>
                  <a:lnTo>
                    <a:pt x="1343" y="179"/>
                  </a:lnTo>
                  <a:lnTo>
                    <a:pt x="1343" y="191"/>
                  </a:lnTo>
                  <a:lnTo>
                    <a:pt x="1343" y="191"/>
                  </a:lnTo>
                  <a:lnTo>
                    <a:pt x="1343" y="214"/>
                  </a:lnTo>
                  <a:lnTo>
                    <a:pt x="1343" y="214"/>
                  </a:lnTo>
                  <a:lnTo>
                    <a:pt x="1343" y="262"/>
                  </a:lnTo>
                  <a:lnTo>
                    <a:pt x="1343" y="262"/>
                  </a:lnTo>
                  <a:lnTo>
                    <a:pt x="1343" y="273"/>
                  </a:lnTo>
                  <a:lnTo>
                    <a:pt x="1343" y="273"/>
                  </a:lnTo>
                  <a:lnTo>
                    <a:pt x="1339" y="273"/>
                  </a:lnTo>
                  <a:lnTo>
                    <a:pt x="1332" y="273"/>
                  </a:lnTo>
                  <a:lnTo>
                    <a:pt x="1332" y="273"/>
                  </a:lnTo>
                  <a:lnTo>
                    <a:pt x="1332" y="278"/>
                  </a:lnTo>
                  <a:lnTo>
                    <a:pt x="1332" y="285"/>
                  </a:lnTo>
                  <a:lnTo>
                    <a:pt x="1332" y="285"/>
                  </a:lnTo>
                  <a:lnTo>
                    <a:pt x="1329" y="285"/>
                  </a:lnTo>
                  <a:lnTo>
                    <a:pt x="1327" y="285"/>
                  </a:lnTo>
                  <a:lnTo>
                    <a:pt x="1320" y="285"/>
                  </a:lnTo>
                  <a:lnTo>
                    <a:pt x="1320" y="285"/>
                  </a:lnTo>
                  <a:lnTo>
                    <a:pt x="1320" y="297"/>
                  </a:lnTo>
                  <a:lnTo>
                    <a:pt x="1320" y="297"/>
                  </a:lnTo>
                  <a:lnTo>
                    <a:pt x="1320" y="309"/>
                  </a:lnTo>
                  <a:lnTo>
                    <a:pt x="1320" y="309"/>
                  </a:lnTo>
                  <a:lnTo>
                    <a:pt x="1320" y="320"/>
                  </a:lnTo>
                  <a:lnTo>
                    <a:pt x="1320" y="320"/>
                  </a:lnTo>
                  <a:lnTo>
                    <a:pt x="1320" y="332"/>
                  </a:lnTo>
                  <a:lnTo>
                    <a:pt x="1320" y="332"/>
                  </a:lnTo>
                  <a:lnTo>
                    <a:pt x="1320" y="344"/>
                  </a:lnTo>
                  <a:lnTo>
                    <a:pt x="1320" y="344"/>
                  </a:lnTo>
                  <a:lnTo>
                    <a:pt x="1320" y="351"/>
                  </a:lnTo>
                  <a:lnTo>
                    <a:pt x="1320" y="356"/>
                  </a:lnTo>
                  <a:lnTo>
                    <a:pt x="1320" y="356"/>
                  </a:lnTo>
                  <a:lnTo>
                    <a:pt x="1317" y="358"/>
                  </a:lnTo>
                  <a:lnTo>
                    <a:pt x="1315" y="356"/>
                  </a:lnTo>
                  <a:lnTo>
                    <a:pt x="1308" y="356"/>
                  </a:lnTo>
                  <a:lnTo>
                    <a:pt x="1308" y="356"/>
                  </a:lnTo>
                  <a:lnTo>
                    <a:pt x="1303" y="356"/>
                  </a:lnTo>
                  <a:lnTo>
                    <a:pt x="1299" y="356"/>
                  </a:lnTo>
                  <a:lnTo>
                    <a:pt x="1296" y="356"/>
                  </a:lnTo>
                  <a:lnTo>
                    <a:pt x="1296" y="356"/>
                  </a:lnTo>
                  <a:lnTo>
                    <a:pt x="1296" y="344"/>
                  </a:lnTo>
                  <a:lnTo>
                    <a:pt x="1296" y="344"/>
                  </a:lnTo>
                  <a:lnTo>
                    <a:pt x="1296" y="332"/>
                  </a:lnTo>
                  <a:lnTo>
                    <a:pt x="1296" y="332"/>
                  </a:lnTo>
                  <a:lnTo>
                    <a:pt x="1296" y="320"/>
                  </a:lnTo>
                  <a:lnTo>
                    <a:pt x="1296" y="320"/>
                  </a:lnTo>
                  <a:lnTo>
                    <a:pt x="1296" y="309"/>
                  </a:lnTo>
                  <a:lnTo>
                    <a:pt x="1296" y="309"/>
                  </a:lnTo>
                  <a:lnTo>
                    <a:pt x="1296" y="302"/>
                  </a:lnTo>
                  <a:lnTo>
                    <a:pt x="1296" y="297"/>
                  </a:lnTo>
                  <a:lnTo>
                    <a:pt x="1296" y="297"/>
                  </a:lnTo>
                  <a:lnTo>
                    <a:pt x="1294" y="297"/>
                  </a:lnTo>
                  <a:lnTo>
                    <a:pt x="1292" y="297"/>
                  </a:lnTo>
                  <a:lnTo>
                    <a:pt x="1287" y="297"/>
                  </a:lnTo>
                  <a:lnTo>
                    <a:pt x="1284" y="297"/>
                  </a:lnTo>
                  <a:lnTo>
                    <a:pt x="1284" y="297"/>
                  </a:lnTo>
                  <a:lnTo>
                    <a:pt x="1282" y="297"/>
                  </a:lnTo>
                  <a:lnTo>
                    <a:pt x="1280" y="297"/>
                  </a:lnTo>
                  <a:lnTo>
                    <a:pt x="1275" y="297"/>
                  </a:lnTo>
                  <a:lnTo>
                    <a:pt x="1273" y="297"/>
                  </a:lnTo>
                  <a:lnTo>
                    <a:pt x="1273" y="297"/>
                  </a:lnTo>
                  <a:lnTo>
                    <a:pt x="1273" y="290"/>
                  </a:lnTo>
                  <a:lnTo>
                    <a:pt x="1273" y="285"/>
                  </a:lnTo>
                  <a:lnTo>
                    <a:pt x="1273" y="285"/>
                  </a:lnTo>
                  <a:lnTo>
                    <a:pt x="1268" y="285"/>
                  </a:lnTo>
                  <a:lnTo>
                    <a:pt x="1261" y="285"/>
                  </a:lnTo>
                  <a:lnTo>
                    <a:pt x="1261" y="285"/>
                  </a:lnTo>
                  <a:lnTo>
                    <a:pt x="1254" y="285"/>
                  </a:lnTo>
                  <a:lnTo>
                    <a:pt x="1249" y="285"/>
                  </a:lnTo>
                  <a:lnTo>
                    <a:pt x="1249" y="285"/>
                  </a:lnTo>
                  <a:lnTo>
                    <a:pt x="1249" y="283"/>
                  </a:lnTo>
                  <a:lnTo>
                    <a:pt x="1249" y="278"/>
                  </a:lnTo>
                  <a:lnTo>
                    <a:pt x="1249" y="273"/>
                  </a:lnTo>
                  <a:lnTo>
                    <a:pt x="1249" y="273"/>
                  </a:lnTo>
                  <a:lnTo>
                    <a:pt x="1237" y="273"/>
                  </a:lnTo>
                  <a:lnTo>
                    <a:pt x="1237" y="273"/>
                  </a:lnTo>
                  <a:lnTo>
                    <a:pt x="1230" y="273"/>
                  </a:lnTo>
                  <a:lnTo>
                    <a:pt x="1226" y="273"/>
                  </a:lnTo>
                  <a:lnTo>
                    <a:pt x="1226" y="273"/>
                  </a:lnTo>
                  <a:lnTo>
                    <a:pt x="1226" y="280"/>
                  </a:lnTo>
                  <a:lnTo>
                    <a:pt x="1226" y="285"/>
                  </a:lnTo>
                  <a:lnTo>
                    <a:pt x="1226" y="285"/>
                  </a:lnTo>
                  <a:lnTo>
                    <a:pt x="1218" y="285"/>
                  </a:lnTo>
                  <a:lnTo>
                    <a:pt x="1214" y="285"/>
                  </a:lnTo>
                  <a:lnTo>
                    <a:pt x="1214" y="285"/>
                  </a:lnTo>
                  <a:lnTo>
                    <a:pt x="1207" y="285"/>
                  </a:lnTo>
                  <a:lnTo>
                    <a:pt x="1202" y="285"/>
                  </a:lnTo>
                  <a:lnTo>
                    <a:pt x="1202" y="285"/>
                  </a:lnTo>
                  <a:lnTo>
                    <a:pt x="1200" y="287"/>
                  </a:lnTo>
                  <a:lnTo>
                    <a:pt x="1202" y="290"/>
                  </a:lnTo>
                  <a:lnTo>
                    <a:pt x="1202" y="295"/>
                  </a:lnTo>
                  <a:lnTo>
                    <a:pt x="1202" y="297"/>
                  </a:lnTo>
                  <a:lnTo>
                    <a:pt x="1202" y="297"/>
                  </a:lnTo>
                  <a:lnTo>
                    <a:pt x="1195" y="297"/>
                  </a:lnTo>
                  <a:lnTo>
                    <a:pt x="1190" y="297"/>
                  </a:lnTo>
                  <a:lnTo>
                    <a:pt x="1190" y="297"/>
                  </a:lnTo>
                  <a:lnTo>
                    <a:pt x="1183" y="297"/>
                  </a:lnTo>
                  <a:lnTo>
                    <a:pt x="1178" y="297"/>
                  </a:lnTo>
                  <a:lnTo>
                    <a:pt x="1178" y="297"/>
                  </a:lnTo>
                  <a:lnTo>
                    <a:pt x="1178" y="302"/>
                  </a:lnTo>
                  <a:lnTo>
                    <a:pt x="1178" y="309"/>
                  </a:lnTo>
                  <a:lnTo>
                    <a:pt x="1178" y="309"/>
                  </a:lnTo>
                  <a:lnTo>
                    <a:pt x="1176" y="316"/>
                  </a:lnTo>
                  <a:lnTo>
                    <a:pt x="1178" y="320"/>
                  </a:lnTo>
                  <a:lnTo>
                    <a:pt x="1178" y="320"/>
                  </a:lnTo>
                  <a:lnTo>
                    <a:pt x="1178" y="332"/>
                  </a:lnTo>
                  <a:lnTo>
                    <a:pt x="1178" y="332"/>
                  </a:lnTo>
                  <a:lnTo>
                    <a:pt x="1178" y="339"/>
                  </a:lnTo>
                  <a:lnTo>
                    <a:pt x="1178" y="344"/>
                  </a:lnTo>
                  <a:lnTo>
                    <a:pt x="1178" y="344"/>
                  </a:lnTo>
                  <a:lnTo>
                    <a:pt x="1176" y="344"/>
                  </a:lnTo>
                  <a:lnTo>
                    <a:pt x="1171" y="344"/>
                  </a:lnTo>
                  <a:lnTo>
                    <a:pt x="1167" y="344"/>
                  </a:lnTo>
                  <a:lnTo>
                    <a:pt x="1167" y="344"/>
                  </a:lnTo>
                  <a:lnTo>
                    <a:pt x="1167" y="320"/>
                  </a:lnTo>
                  <a:lnTo>
                    <a:pt x="1167" y="320"/>
                  </a:lnTo>
                  <a:lnTo>
                    <a:pt x="1160" y="320"/>
                  </a:lnTo>
                  <a:lnTo>
                    <a:pt x="1157" y="320"/>
                  </a:lnTo>
                  <a:lnTo>
                    <a:pt x="1155" y="320"/>
                  </a:lnTo>
                  <a:lnTo>
                    <a:pt x="1155" y="320"/>
                  </a:lnTo>
                  <a:lnTo>
                    <a:pt x="1153" y="318"/>
                  </a:lnTo>
                  <a:lnTo>
                    <a:pt x="1153" y="316"/>
                  </a:lnTo>
                  <a:lnTo>
                    <a:pt x="1155" y="309"/>
                  </a:lnTo>
                  <a:lnTo>
                    <a:pt x="1155" y="309"/>
                  </a:lnTo>
                  <a:lnTo>
                    <a:pt x="1153" y="306"/>
                  </a:lnTo>
                  <a:lnTo>
                    <a:pt x="1155" y="304"/>
                  </a:lnTo>
                  <a:lnTo>
                    <a:pt x="1155" y="299"/>
                  </a:lnTo>
                  <a:lnTo>
                    <a:pt x="1155" y="297"/>
                  </a:lnTo>
                  <a:lnTo>
                    <a:pt x="1155" y="297"/>
                  </a:lnTo>
                  <a:lnTo>
                    <a:pt x="1141" y="297"/>
                  </a:lnTo>
                  <a:lnTo>
                    <a:pt x="1141" y="297"/>
                  </a:lnTo>
                  <a:lnTo>
                    <a:pt x="1136" y="297"/>
                  </a:lnTo>
                  <a:lnTo>
                    <a:pt x="1129" y="297"/>
                  </a:lnTo>
                  <a:lnTo>
                    <a:pt x="1129" y="297"/>
                  </a:lnTo>
                  <a:lnTo>
                    <a:pt x="1129" y="295"/>
                  </a:lnTo>
                  <a:lnTo>
                    <a:pt x="1129" y="292"/>
                  </a:lnTo>
                  <a:lnTo>
                    <a:pt x="1129" y="285"/>
                  </a:lnTo>
                  <a:lnTo>
                    <a:pt x="1129" y="285"/>
                  </a:lnTo>
                  <a:lnTo>
                    <a:pt x="1127" y="285"/>
                  </a:lnTo>
                  <a:lnTo>
                    <a:pt x="1124" y="285"/>
                  </a:lnTo>
                  <a:lnTo>
                    <a:pt x="1120" y="285"/>
                  </a:lnTo>
                  <a:lnTo>
                    <a:pt x="1117" y="285"/>
                  </a:lnTo>
                  <a:lnTo>
                    <a:pt x="1117" y="285"/>
                  </a:lnTo>
                  <a:lnTo>
                    <a:pt x="1117" y="283"/>
                  </a:lnTo>
                  <a:lnTo>
                    <a:pt x="1117" y="278"/>
                  </a:lnTo>
                  <a:lnTo>
                    <a:pt x="1117" y="273"/>
                  </a:lnTo>
                  <a:lnTo>
                    <a:pt x="1117" y="273"/>
                  </a:lnTo>
                  <a:lnTo>
                    <a:pt x="1105" y="273"/>
                  </a:lnTo>
                  <a:lnTo>
                    <a:pt x="1105" y="273"/>
                  </a:lnTo>
                  <a:lnTo>
                    <a:pt x="1094" y="273"/>
                  </a:lnTo>
                  <a:lnTo>
                    <a:pt x="1094" y="273"/>
                  </a:lnTo>
                  <a:lnTo>
                    <a:pt x="1046" y="273"/>
                  </a:lnTo>
                  <a:lnTo>
                    <a:pt x="1046" y="273"/>
                  </a:lnTo>
                  <a:lnTo>
                    <a:pt x="1046" y="297"/>
                  </a:lnTo>
                  <a:lnTo>
                    <a:pt x="1046" y="297"/>
                  </a:lnTo>
                  <a:lnTo>
                    <a:pt x="1023" y="297"/>
                  </a:lnTo>
                  <a:lnTo>
                    <a:pt x="1023" y="297"/>
                  </a:lnTo>
                  <a:lnTo>
                    <a:pt x="1023" y="344"/>
                  </a:lnTo>
                  <a:lnTo>
                    <a:pt x="1023" y="344"/>
                  </a:lnTo>
                  <a:lnTo>
                    <a:pt x="1011" y="344"/>
                  </a:lnTo>
                  <a:lnTo>
                    <a:pt x="1011" y="344"/>
                  </a:lnTo>
                  <a:lnTo>
                    <a:pt x="988" y="344"/>
                  </a:lnTo>
                  <a:lnTo>
                    <a:pt x="988" y="344"/>
                  </a:lnTo>
                  <a:lnTo>
                    <a:pt x="964" y="344"/>
                  </a:lnTo>
                  <a:lnTo>
                    <a:pt x="964" y="344"/>
                  </a:lnTo>
                  <a:lnTo>
                    <a:pt x="952" y="344"/>
                  </a:lnTo>
                  <a:lnTo>
                    <a:pt x="952" y="344"/>
                  </a:lnTo>
                  <a:lnTo>
                    <a:pt x="940" y="344"/>
                  </a:lnTo>
                  <a:lnTo>
                    <a:pt x="940" y="344"/>
                  </a:lnTo>
                  <a:lnTo>
                    <a:pt x="929" y="344"/>
                  </a:lnTo>
                  <a:lnTo>
                    <a:pt x="929" y="344"/>
                  </a:lnTo>
                  <a:lnTo>
                    <a:pt x="922" y="344"/>
                  </a:lnTo>
                  <a:lnTo>
                    <a:pt x="917" y="344"/>
                  </a:lnTo>
                  <a:lnTo>
                    <a:pt x="917" y="344"/>
                  </a:lnTo>
                  <a:lnTo>
                    <a:pt x="917" y="339"/>
                  </a:lnTo>
                  <a:lnTo>
                    <a:pt x="917" y="332"/>
                  </a:lnTo>
                  <a:lnTo>
                    <a:pt x="917" y="332"/>
                  </a:lnTo>
                  <a:lnTo>
                    <a:pt x="915" y="332"/>
                  </a:lnTo>
                  <a:lnTo>
                    <a:pt x="910" y="332"/>
                  </a:lnTo>
                  <a:lnTo>
                    <a:pt x="903" y="332"/>
                  </a:lnTo>
                  <a:lnTo>
                    <a:pt x="903" y="332"/>
                  </a:lnTo>
                  <a:lnTo>
                    <a:pt x="903" y="309"/>
                  </a:lnTo>
                  <a:lnTo>
                    <a:pt x="903" y="309"/>
                  </a:lnTo>
                  <a:lnTo>
                    <a:pt x="903" y="262"/>
                  </a:lnTo>
                  <a:lnTo>
                    <a:pt x="903" y="262"/>
                  </a:lnTo>
                  <a:lnTo>
                    <a:pt x="903" y="250"/>
                  </a:lnTo>
                  <a:lnTo>
                    <a:pt x="903" y="250"/>
                  </a:lnTo>
                  <a:lnTo>
                    <a:pt x="903" y="226"/>
                  </a:lnTo>
                  <a:lnTo>
                    <a:pt x="903" y="226"/>
                  </a:lnTo>
                  <a:lnTo>
                    <a:pt x="903" y="203"/>
                  </a:lnTo>
                  <a:lnTo>
                    <a:pt x="903" y="203"/>
                  </a:lnTo>
                  <a:lnTo>
                    <a:pt x="856" y="203"/>
                  </a:lnTo>
                  <a:lnTo>
                    <a:pt x="856" y="203"/>
                  </a:lnTo>
                  <a:lnTo>
                    <a:pt x="856" y="191"/>
                  </a:lnTo>
                  <a:lnTo>
                    <a:pt x="856" y="191"/>
                  </a:lnTo>
                  <a:lnTo>
                    <a:pt x="856" y="141"/>
                  </a:lnTo>
                  <a:lnTo>
                    <a:pt x="856" y="141"/>
                  </a:lnTo>
                  <a:lnTo>
                    <a:pt x="856" y="118"/>
                  </a:lnTo>
                  <a:lnTo>
                    <a:pt x="856" y="118"/>
                  </a:lnTo>
                  <a:lnTo>
                    <a:pt x="856" y="106"/>
                  </a:lnTo>
                  <a:lnTo>
                    <a:pt x="856" y="106"/>
                  </a:lnTo>
                  <a:lnTo>
                    <a:pt x="856" y="59"/>
                  </a:lnTo>
                  <a:lnTo>
                    <a:pt x="856" y="59"/>
                  </a:lnTo>
                  <a:lnTo>
                    <a:pt x="856" y="47"/>
                  </a:lnTo>
                  <a:lnTo>
                    <a:pt x="856" y="47"/>
                  </a:lnTo>
                  <a:lnTo>
                    <a:pt x="856" y="24"/>
                  </a:lnTo>
                  <a:lnTo>
                    <a:pt x="856" y="24"/>
                  </a:lnTo>
                  <a:lnTo>
                    <a:pt x="851" y="24"/>
                  </a:lnTo>
                  <a:lnTo>
                    <a:pt x="844" y="24"/>
                  </a:lnTo>
                  <a:lnTo>
                    <a:pt x="844" y="24"/>
                  </a:lnTo>
                  <a:lnTo>
                    <a:pt x="844" y="12"/>
                  </a:lnTo>
                  <a:lnTo>
                    <a:pt x="844" y="12"/>
                  </a:lnTo>
                  <a:lnTo>
                    <a:pt x="844" y="0"/>
                  </a:lnTo>
                  <a:lnTo>
                    <a:pt x="844" y="0"/>
                  </a:lnTo>
                  <a:lnTo>
                    <a:pt x="750" y="0"/>
                  </a:lnTo>
                  <a:lnTo>
                    <a:pt x="750" y="0"/>
                  </a:lnTo>
                  <a:lnTo>
                    <a:pt x="750" y="12"/>
                  </a:lnTo>
                  <a:lnTo>
                    <a:pt x="750" y="12"/>
                  </a:lnTo>
                  <a:lnTo>
                    <a:pt x="750" y="35"/>
                  </a:lnTo>
                  <a:lnTo>
                    <a:pt x="750" y="35"/>
                  </a:lnTo>
                  <a:lnTo>
                    <a:pt x="750" y="47"/>
                  </a:lnTo>
                  <a:lnTo>
                    <a:pt x="750" y="47"/>
                  </a:lnTo>
                  <a:lnTo>
                    <a:pt x="750" y="54"/>
                  </a:lnTo>
                  <a:lnTo>
                    <a:pt x="750" y="59"/>
                  </a:lnTo>
                  <a:lnTo>
                    <a:pt x="750" y="59"/>
                  </a:lnTo>
                  <a:lnTo>
                    <a:pt x="743" y="59"/>
                  </a:lnTo>
                  <a:lnTo>
                    <a:pt x="738" y="59"/>
                  </a:lnTo>
                  <a:lnTo>
                    <a:pt x="738" y="59"/>
                  </a:lnTo>
                  <a:lnTo>
                    <a:pt x="738" y="64"/>
                  </a:lnTo>
                  <a:lnTo>
                    <a:pt x="738" y="71"/>
                  </a:lnTo>
                  <a:lnTo>
                    <a:pt x="738" y="71"/>
                  </a:lnTo>
                  <a:lnTo>
                    <a:pt x="738" y="82"/>
                  </a:lnTo>
                  <a:lnTo>
                    <a:pt x="738" y="82"/>
                  </a:lnTo>
                  <a:lnTo>
                    <a:pt x="738" y="106"/>
                  </a:lnTo>
                  <a:lnTo>
                    <a:pt x="738" y="106"/>
                  </a:lnTo>
                  <a:lnTo>
                    <a:pt x="738" y="118"/>
                  </a:lnTo>
                  <a:lnTo>
                    <a:pt x="738" y="118"/>
                  </a:lnTo>
                  <a:lnTo>
                    <a:pt x="738" y="141"/>
                  </a:lnTo>
                  <a:lnTo>
                    <a:pt x="738" y="141"/>
                  </a:lnTo>
                  <a:lnTo>
                    <a:pt x="738" y="238"/>
                  </a:lnTo>
                  <a:lnTo>
                    <a:pt x="738" y="238"/>
                  </a:lnTo>
                  <a:lnTo>
                    <a:pt x="738" y="250"/>
                  </a:lnTo>
                  <a:lnTo>
                    <a:pt x="738" y="250"/>
                  </a:lnTo>
                  <a:lnTo>
                    <a:pt x="738" y="273"/>
                  </a:lnTo>
                  <a:lnTo>
                    <a:pt x="738" y="273"/>
                  </a:lnTo>
                  <a:lnTo>
                    <a:pt x="738" y="320"/>
                  </a:lnTo>
                  <a:lnTo>
                    <a:pt x="738" y="320"/>
                  </a:lnTo>
                  <a:lnTo>
                    <a:pt x="726" y="320"/>
                  </a:lnTo>
                  <a:lnTo>
                    <a:pt x="726" y="320"/>
                  </a:lnTo>
                  <a:lnTo>
                    <a:pt x="726" y="309"/>
                  </a:lnTo>
                  <a:lnTo>
                    <a:pt x="726" y="309"/>
                  </a:lnTo>
                  <a:lnTo>
                    <a:pt x="726" y="297"/>
                  </a:lnTo>
                  <a:lnTo>
                    <a:pt x="726" y="297"/>
                  </a:lnTo>
                  <a:lnTo>
                    <a:pt x="726" y="285"/>
                  </a:lnTo>
                  <a:lnTo>
                    <a:pt x="726" y="285"/>
                  </a:lnTo>
                  <a:lnTo>
                    <a:pt x="726" y="278"/>
                  </a:lnTo>
                  <a:lnTo>
                    <a:pt x="726" y="273"/>
                  </a:lnTo>
                  <a:lnTo>
                    <a:pt x="726" y="273"/>
                  </a:lnTo>
                  <a:lnTo>
                    <a:pt x="724" y="273"/>
                  </a:lnTo>
                  <a:lnTo>
                    <a:pt x="719" y="273"/>
                  </a:lnTo>
                  <a:lnTo>
                    <a:pt x="714" y="273"/>
                  </a:lnTo>
                  <a:lnTo>
                    <a:pt x="714" y="273"/>
                  </a:lnTo>
                  <a:lnTo>
                    <a:pt x="712" y="271"/>
                  </a:lnTo>
                  <a:lnTo>
                    <a:pt x="714" y="266"/>
                  </a:lnTo>
                  <a:lnTo>
                    <a:pt x="714" y="262"/>
                  </a:lnTo>
                  <a:lnTo>
                    <a:pt x="714" y="262"/>
                  </a:lnTo>
                  <a:lnTo>
                    <a:pt x="702" y="262"/>
                  </a:lnTo>
                  <a:lnTo>
                    <a:pt x="702" y="262"/>
                  </a:lnTo>
                  <a:lnTo>
                    <a:pt x="679" y="262"/>
                  </a:lnTo>
                  <a:lnTo>
                    <a:pt x="679" y="262"/>
                  </a:lnTo>
                  <a:lnTo>
                    <a:pt x="679" y="266"/>
                  </a:lnTo>
                  <a:lnTo>
                    <a:pt x="679" y="273"/>
                  </a:lnTo>
                  <a:lnTo>
                    <a:pt x="679" y="273"/>
                  </a:lnTo>
                  <a:lnTo>
                    <a:pt x="667" y="273"/>
                  </a:lnTo>
                  <a:lnTo>
                    <a:pt x="667" y="273"/>
                  </a:lnTo>
                  <a:lnTo>
                    <a:pt x="660" y="273"/>
                  </a:lnTo>
                  <a:lnTo>
                    <a:pt x="653" y="273"/>
                  </a:lnTo>
                  <a:lnTo>
                    <a:pt x="653" y="273"/>
                  </a:lnTo>
                  <a:lnTo>
                    <a:pt x="653" y="278"/>
                  </a:lnTo>
                  <a:lnTo>
                    <a:pt x="653" y="285"/>
                  </a:lnTo>
                  <a:lnTo>
                    <a:pt x="653" y="285"/>
                  </a:lnTo>
                  <a:lnTo>
                    <a:pt x="641" y="285"/>
                  </a:lnTo>
                  <a:lnTo>
                    <a:pt x="641" y="285"/>
                  </a:lnTo>
                  <a:lnTo>
                    <a:pt x="629" y="285"/>
                  </a:lnTo>
                  <a:lnTo>
                    <a:pt x="629" y="285"/>
                  </a:lnTo>
                  <a:lnTo>
                    <a:pt x="629" y="292"/>
                  </a:lnTo>
                  <a:lnTo>
                    <a:pt x="632" y="295"/>
                  </a:lnTo>
                  <a:lnTo>
                    <a:pt x="629" y="297"/>
                  </a:lnTo>
                  <a:lnTo>
                    <a:pt x="629" y="297"/>
                  </a:lnTo>
                  <a:lnTo>
                    <a:pt x="625" y="297"/>
                  </a:lnTo>
                  <a:lnTo>
                    <a:pt x="618" y="297"/>
                  </a:lnTo>
                  <a:lnTo>
                    <a:pt x="618" y="297"/>
                  </a:lnTo>
                  <a:lnTo>
                    <a:pt x="613" y="297"/>
                  </a:lnTo>
                  <a:lnTo>
                    <a:pt x="606" y="297"/>
                  </a:lnTo>
                  <a:lnTo>
                    <a:pt x="606" y="297"/>
                  </a:lnTo>
                  <a:lnTo>
                    <a:pt x="594" y="297"/>
                  </a:lnTo>
                  <a:lnTo>
                    <a:pt x="594" y="297"/>
                  </a:lnTo>
                  <a:lnTo>
                    <a:pt x="582" y="297"/>
                  </a:lnTo>
                  <a:lnTo>
                    <a:pt x="582" y="297"/>
                  </a:lnTo>
                  <a:lnTo>
                    <a:pt x="582" y="302"/>
                  </a:lnTo>
                  <a:lnTo>
                    <a:pt x="582" y="309"/>
                  </a:lnTo>
                  <a:lnTo>
                    <a:pt x="582" y="309"/>
                  </a:lnTo>
                  <a:lnTo>
                    <a:pt x="578" y="309"/>
                  </a:lnTo>
                  <a:lnTo>
                    <a:pt x="571" y="309"/>
                  </a:lnTo>
                  <a:lnTo>
                    <a:pt x="571" y="309"/>
                  </a:lnTo>
                  <a:lnTo>
                    <a:pt x="571" y="316"/>
                  </a:lnTo>
                  <a:lnTo>
                    <a:pt x="571" y="320"/>
                  </a:lnTo>
                  <a:lnTo>
                    <a:pt x="571" y="320"/>
                  </a:lnTo>
                  <a:lnTo>
                    <a:pt x="566" y="320"/>
                  </a:lnTo>
                  <a:lnTo>
                    <a:pt x="559" y="320"/>
                  </a:lnTo>
                  <a:lnTo>
                    <a:pt x="559" y="320"/>
                  </a:lnTo>
                  <a:lnTo>
                    <a:pt x="559" y="328"/>
                  </a:lnTo>
                  <a:lnTo>
                    <a:pt x="559" y="332"/>
                  </a:lnTo>
                  <a:lnTo>
                    <a:pt x="559" y="332"/>
                  </a:lnTo>
                  <a:lnTo>
                    <a:pt x="559" y="356"/>
                  </a:lnTo>
                  <a:lnTo>
                    <a:pt x="559" y="356"/>
                  </a:lnTo>
                  <a:lnTo>
                    <a:pt x="554" y="356"/>
                  </a:lnTo>
                  <a:lnTo>
                    <a:pt x="547" y="356"/>
                  </a:lnTo>
                  <a:lnTo>
                    <a:pt x="547" y="356"/>
                  </a:lnTo>
                  <a:lnTo>
                    <a:pt x="542" y="356"/>
                  </a:lnTo>
                  <a:lnTo>
                    <a:pt x="535" y="356"/>
                  </a:lnTo>
                  <a:lnTo>
                    <a:pt x="535" y="356"/>
                  </a:lnTo>
                  <a:lnTo>
                    <a:pt x="528" y="356"/>
                  </a:lnTo>
                  <a:lnTo>
                    <a:pt x="523" y="356"/>
                  </a:lnTo>
                  <a:lnTo>
                    <a:pt x="523" y="356"/>
                  </a:lnTo>
                  <a:lnTo>
                    <a:pt x="523" y="351"/>
                  </a:lnTo>
                  <a:lnTo>
                    <a:pt x="523" y="344"/>
                  </a:lnTo>
                  <a:lnTo>
                    <a:pt x="523" y="344"/>
                  </a:lnTo>
                  <a:lnTo>
                    <a:pt x="512" y="344"/>
                  </a:lnTo>
                  <a:lnTo>
                    <a:pt x="512" y="344"/>
                  </a:lnTo>
                  <a:lnTo>
                    <a:pt x="500" y="344"/>
                  </a:lnTo>
                  <a:lnTo>
                    <a:pt x="500" y="344"/>
                  </a:lnTo>
                  <a:lnTo>
                    <a:pt x="476" y="344"/>
                  </a:lnTo>
                  <a:lnTo>
                    <a:pt x="476" y="344"/>
                  </a:lnTo>
                  <a:lnTo>
                    <a:pt x="453" y="344"/>
                  </a:lnTo>
                  <a:lnTo>
                    <a:pt x="453" y="344"/>
                  </a:lnTo>
                  <a:lnTo>
                    <a:pt x="453" y="339"/>
                  </a:lnTo>
                  <a:lnTo>
                    <a:pt x="453" y="335"/>
                  </a:lnTo>
                  <a:lnTo>
                    <a:pt x="453" y="332"/>
                  </a:lnTo>
                  <a:lnTo>
                    <a:pt x="453" y="332"/>
                  </a:lnTo>
                  <a:lnTo>
                    <a:pt x="446" y="332"/>
                  </a:lnTo>
                  <a:lnTo>
                    <a:pt x="441" y="332"/>
                  </a:lnTo>
                  <a:lnTo>
                    <a:pt x="441" y="332"/>
                  </a:lnTo>
                  <a:lnTo>
                    <a:pt x="429" y="332"/>
                  </a:lnTo>
                  <a:lnTo>
                    <a:pt x="429" y="332"/>
                  </a:lnTo>
                  <a:lnTo>
                    <a:pt x="429" y="339"/>
                  </a:lnTo>
                  <a:lnTo>
                    <a:pt x="429" y="342"/>
                  </a:lnTo>
                  <a:lnTo>
                    <a:pt x="429" y="344"/>
                  </a:lnTo>
                  <a:lnTo>
                    <a:pt x="429" y="344"/>
                  </a:lnTo>
                  <a:lnTo>
                    <a:pt x="422" y="344"/>
                  </a:lnTo>
                  <a:lnTo>
                    <a:pt x="417" y="344"/>
                  </a:lnTo>
                  <a:lnTo>
                    <a:pt x="417" y="344"/>
                  </a:lnTo>
                  <a:lnTo>
                    <a:pt x="403" y="344"/>
                  </a:lnTo>
                  <a:lnTo>
                    <a:pt x="403" y="344"/>
                  </a:lnTo>
                  <a:lnTo>
                    <a:pt x="399" y="344"/>
                  </a:lnTo>
                  <a:lnTo>
                    <a:pt x="391" y="344"/>
                  </a:lnTo>
                  <a:lnTo>
                    <a:pt x="391" y="344"/>
                  </a:lnTo>
                  <a:lnTo>
                    <a:pt x="387" y="344"/>
                  </a:lnTo>
                  <a:lnTo>
                    <a:pt x="380" y="344"/>
                  </a:lnTo>
                  <a:lnTo>
                    <a:pt x="380" y="344"/>
                  </a:lnTo>
                  <a:lnTo>
                    <a:pt x="380" y="346"/>
                  </a:lnTo>
                  <a:lnTo>
                    <a:pt x="380" y="351"/>
                  </a:lnTo>
                  <a:lnTo>
                    <a:pt x="380" y="356"/>
                  </a:lnTo>
                  <a:lnTo>
                    <a:pt x="380" y="356"/>
                  </a:lnTo>
                  <a:lnTo>
                    <a:pt x="356" y="356"/>
                  </a:lnTo>
                  <a:lnTo>
                    <a:pt x="356" y="356"/>
                  </a:lnTo>
                  <a:lnTo>
                    <a:pt x="344" y="356"/>
                  </a:lnTo>
                  <a:lnTo>
                    <a:pt x="344" y="356"/>
                  </a:lnTo>
                  <a:lnTo>
                    <a:pt x="321" y="356"/>
                  </a:lnTo>
                  <a:lnTo>
                    <a:pt x="321" y="356"/>
                  </a:lnTo>
                  <a:lnTo>
                    <a:pt x="309" y="356"/>
                  </a:lnTo>
                  <a:lnTo>
                    <a:pt x="309" y="356"/>
                  </a:lnTo>
                  <a:lnTo>
                    <a:pt x="297" y="356"/>
                  </a:lnTo>
                  <a:lnTo>
                    <a:pt x="297" y="356"/>
                  </a:lnTo>
                  <a:lnTo>
                    <a:pt x="285" y="356"/>
                  </a:lnTo>
                  <a:lnTo>
                    <a:pt x="285" y="356"/>
                  </a:lnTo>
                  <a:lnTo>
                    <a:pt x="274" y="356"/>
                  </a:lnTo>
                  <a:lnTo>
                    <a:pt x="274" y="356"/>
                  </a:lnTo>
                  <a:lnTo>
                    <a:pt x="262" y="356"/>
                  </a:lnTo>
                  <a:lnTo>
                    <a:pt x="262" y="356"/>
                  </a:lnTo>
                  <a:lnTo>
                    <a:pt x="250" y="356"/>
                  </a:lnTo>
                  <a:lnTo>
                    <a:pt x="250" y="356"/>
                  </a:lnTo>
                  <a:lnTo>
                    <a:pt x="243" y="356"/>
                  </a:lnTo>
                  <a:lnTo>
                    <a:pt x="238" y="356"/>
                  </a:lnTo>
                  <a:lnTo>
                    <a:pt x="238" y="356"/>
                  </a:lnTo>
                  <a:lnTo>
                    <a:pt x="238" y="351"/>
                  </a:lnTo>
                  <a:lnTo>
                    <a:pt x="238" y="344"/>
                  </a:lnTo>
                  <a:lnTo>
                    <a:pt x="238" y="344"/>
                  </a:lnTo>
                  <a:lnTo>
                    <a:pt x="231" y="344"/>
                  </a:lnTo>
                  <a:lnTo>
                    <a:pt x="227" y="344"/>
                  </a:lnTo>
                  <a:lnTo>
                    <a:pt x="227" y="344"/>
                  </a:lnTo>
                  <a:lnTo>
                    <a:pt x="227" y="356"/>
                  </a:lnTo>
                  <a:lnTo>
                    <a:pt x="227" y="356"/>
                  </a:lnTo>
                  <a:lnTo>
                    <a:pt x="215" y="356"/>
                  </a:lnTo>
                  <a:lnTo>
                    <a:pt x="215" y="356"/>
                  </a:lnTo>
                  <a:lnTo>
                    <a:pt x="203" y="356"/>
                  </a:lnTo>
                  <a:lnTo>
                    <a:pt x="203" y="356"/>
                  </a:lnTo>
                  <a:lnTo>
                    <a:pt x="191" y="356"/>
                  </a:lnTo>
                  <a:lnTo>
                    <a:pt x="191" y="356"/>
                  </a:lnTo>
                  <a:lnTo>
                    <a:pt x="179" y="356"/>
                  </a:lnTo>
                  <a:lnTo>
                    <a:pt x="179" y="356"/>
                  </a:lnTo>
                  <a:lnTo>
                    <a:pt x="165" y="356"/>
                  </a:lnTo>
                  <a:lnTo>
                    <a:pt x="165" y="356"/>
                  </a:lnTo>
                  <a:lnTo>
                    <a:pt x="153" y="356"/>
                  </a:lnTo>
                  <a:lnTo>
                    <a:pt x="153" y="356"/>
                  </a:lnTo>
                  <a:lnTo>
                    <a:pt x="130" y="356"/>
                  </a:lnTo>
                  <a:lnTo>
                    <a:pt x="130" y="356"/>
                  </a:lnTo>
                  <a:lnTo>
                    <a:pt x="118" y="356"/>
                  </a:lnTo>
                  <a:lnTo>
                    <a:pt x="118" y="356"/>
                  </a:lnTo>
                  <a:lnTo>
                    <a:pt x="95" y="356"/>
                  </a:lnTo>
                  <a:lnTo>
                    <a:pt x="95" y="356"/>
                  </a:lnTo>
                  <a:lnTo>
                    <a:pt x="0" y="356"/>
                  </a:lnTo>
                  <a:lnTo>
                    <a:pt x="0" y="356"/>
                  </a:lnTo>
                  <a:lnTo>
                    <a:pt x="0" y="379"/>
                  </a:lnTo>
                  <a:lnTo>
                    <a:pt x="0" y="379"/>
                  </a:lnTo>
                  <a:lnTo>
                    <a:pt x="0" y="391"/>
                  </a:lnTo>
                  <a:lnTo>
                    <a:pt x="0" y="391"/>
                  </a:lnTo>
                  <a:lnTo>
                    <a:pt x="0" y="415"/>
                  </a:lnTo>
                  <a:lnTo>
                    <a:pt x="0" y="415"/>
                  </a:lnTo>
                  <a:lnTo>
                    <a:pt x="0" y="429"/>
                  </a:lnTo>
                  <a:lnTo>
                    <a:pt x="0" y="429"/>
                  </a:lnTo>
                  <a:lnTo>
                    <a:pt x="0" y="452"/>
                  </a:lnTo>
                  <a:lnTo>
                    <a:pt x="0" y="452"/>
                  </a:lnTo>
                  <a:lnTo>
                    <a:pt x="0" y="476"/>
                  </a:lnTo>
                  <a:lnTo>
                    <a:pt x="0" y="476"/>
                  </a:lnTo>
                  <a:lnTo>
                    <a:pt x="12" y="476"/>
                  </a:lnTo>
                  <a:lnTo>
                    <a:pt x="12" y="476"/>
                  </a:lnTo>
                  <a:lnTo>
                    <a:pt x="36" y="476"/>
                  </a:lnTo>
                  <a:lnTo>
                    <a:pt x="36" y="476"/>
                  </a:lnTo>
                  <a:lnTo>
                    <a:pt x="83" y="476"/>
                  </a:lnTo>
                  <a:lnTo>
                    <a:pt x="83" y="476"/>
                  </a:lnTo>
                  <a:lnTo>
                    <a:pt x="106" y="476"/>
                  </a:lnTo>
                  <a:lnTo>
                    <a:pt x="106" y="476"/>
                  </a:lnTo>
                  <a:lnTo>
                    <a:pt x="118" y="476"/>
                  </a:lnTo>
                  <a:lnTo>
                    <a:pt x="118" y="476"/>
                  </a:lnTo>
                  <a:lnTo>
                    <a:pt x="142" y="476"/>
                  </a:lnTo>
                  <a:lnTo>
                    <a:pt x="142" y="476"/>
                  </a:lnTo>
                  <a:lnTo>
                    <a:pt x="165" y="476"/>
                  </a:lnTo>
                  <a:lnTo>
                    <a:pt x="165" y="476"/>
                  </a:lnTo>
                  <a:lnTo>
                    <a:pt x="179" y="476"/>
                  </a:lnTo>
                  <a:lnTo>
                    <a:pt x="179" y="476"/>
                  </a:lnTo>
                  <a:lnTo>
                    <a:pt x="203" y="476"/>
                  </a:lnTo>
                  <a:lnTo>
                    <a:pt x="203" y="476"/>
                  </a:lnTo>
                  <a:lnTo>
                    <a:pt x="215" y="476"/>
                  </a:lnTo>
                  <a:lnTo>
                    <a:pt x="215" y="476"/>
                  </a:lnTo>
                  <a:lnTo>
                    <a:pt x="238" y="476"/>
                  </a:lnTo>
                  <a:lnTo>
                    <a:pt x="238" y="476"/>
                  </a:lnTo>
                  <a:lnTo>
                    <a:pt x="250" y="476"/>
                  </a:lnTo>
                  <a:lnTo>
                    <a:pt x="250" y="476"/>
                  </a:lnTo>
                  <a:lnTo>
                    <a:pt x="274" y="476"/>
                  </a:lnTo>
                  <a:lnTo>
                    <a:pt x="274" y="476"/>
                  </a:lnTo>
                  <a:lnTo>
                    <a:pt x="285" y="476"/>
                  </a:lnTo>
                  <a:lnTo>
                    <a:pt x="285" y="476"/>
                  </a:lnTo>
                  <a:lnTo>
                    <a:pt x="309" y="476"/>
                  </a:lnTo>
                  <a:lnTo>
                    <a:pt x="309" y="476"/>
                  </a:lnTo>
                  <a:lnTo>
                    <a:pt x="321" y="476"/>
                  </a:lnTo>
                  <a:lnTo>
                    <a:pt x="321" y="476"/>
                  </a:lnTo>
                  <a:lnTo>
                    <a:pt x="344" y="476"/>
                  </a:lnTo>
                  <a:lnTo>
                    <a:pt x="344" y="476"/>
                  </a:lnTo>
                  <a:lnTo>
                    <a:pt x="356" y="476"/>
                  </a:lnTo>
                  <a:lnTo>
                    <a:pt x="356" y="476"/>
                  </a:lnTo>
                  <a:lnTo>
                    <a:pt x="380" y="476"/>
                  </a:lnTo>
                  <a:lnTo>
                    <a:pt x="380" y="476"/>
                  </a:lnTo>
                  <a:lnTo>
                    <a:pt x="391" y="476"/>
                  </a:lnTo>
                  <a:lnTo>
                    <a:pt x="391" y="476"/>
                  </a:lnTo>
                  <a:lnTo>
                    <a:pt x="441" y="476"/>
                  </a:lnTo>
                  <a:lnTo>
                    <a:pt x="441" y="476"/>
                  </a:lnTo>
                  <a:lnTo>
                    <a:pt x="453" y="476"/>
                  </a:lnTo>
                  <a:lnTo>
                    <a:pt x="453" y="476"/>
                  </a:lnTo>
                  <a:lnTo>
                    <a:pt x="476" y="476"/>
                  </a:lnTo>
                  <a:lnTo>
                    <a:pt x="476" y="476"/>
                  </a:lnTo>
                  <a:lnTo>
                    <a:pt x="488" y="476"/>
                  </a:lnTo>
                  <a:lnTo>
                    <a:pt x="488" y="476"/>
                  </a:lnTo>
                  <a:lnTo>
                    <a:pt x="512" y="476"/>
                  </a:lnTo>
                  <a:lnTo>
                    <a:pt x="512" y="476"/>
                  </a:lnTo>
                  <a:lnTo>
                    <a:pt x="523" y="476"/>
                  </a:lnTo>
                  <a:lnTo>
                    <a:pt x="523" y="476"/>
                  </a:lnTo>
                  <a:lnTo>
                    <a:pt x="547" y="476"/>
                  </a:lnTo>
                  <a:lnTo>
                    <a:pt x="547" y="476"/>
                  </a:lnTo>
                  <a:lnTo>
                    <a:pt x="559" y="476"/>
                  </a:lnTo>
                  <a:lnTo>
                    <a:pt x="559" y="476"/>
                  </a:lnTo>
                  <a:lnTo>
                    <a:pt x="582" y="476"/>
                  </a:lnTo>
                  <a:lnTo>
                    <a:pt x="582" y="476"/>
                  </a:lnTo>
                  <a:lnTo>
                    <a:pt x="594" y="476"/>
                  </a:lnTo>
                  <a:lnTo>
                    <a:pt x="594" y="476"/>
                  </a:lnTo>
                  <a:lnTo>
                    <a:pt x="618" y="476"/>
                  </a:lnTo>
                  <a:lnTo>
                    <a:pt x="618" y="476"/>
                  </a:lnTo>
                  <a:lnTo>
                    <a:pt x="629" y="476"/>
                  </a:lnTo>
                  <a:lnTo>
                    <a:pt x="629" y="476"/>
                  </a:lnTo>
                  <a:lnTo>
                    <a:pt x="653" y="476"/>
                  </a:lnTo>
                  <a:lnTo>
                    <a:pt x="653" y="476"/>
                  </a:lnTo>
                  <a:lnTo>
                    <a:pt x="667" y="476"/>
                  </a:lnTo>
                  <a:lnTo>
                    <a:pt x="667" y="476"/>
                  </a:lnTo>
                  <a:lnTo>
                    <a:pt x="714" y="476"/>
                  </a:lnTo>
                  <a:lnTo>
                    <a:pt x="714" y="476"/>
                  </a:lnTo>
                  <a:lnTo>
                    <a:pt x="726" y="476"/>
                  </a:lnTo>
                  <a:lnTo>
                    <a:pt x="726" y="476"/>
                  </a:lnTo>
                  <a:lnTo>
                    <a:pt x="750" y="476"/>
                  </a:lnTo>
                  <a:lnTo>
                    <a:pt x="750" y="476"/>
                  </a:lnTo>
                  <a:lnTo>
                    <a:pt x="761" y="476"/>
                  </a:lnTo>
                  <a:lnTo>
                    <a:pt x="761" y="476"/>
                  </a:lnTo>
                  <a:lnTo>
                    <a:pt x="785" y="476"/>
                  </a:lnTo>
                  <a:lnTo>
                    <a:pt x="785" y="476"/>
                  </a:lnTo>
                  <a:lnTo>
                    <a:pt x="797" y="476"/>
                  </a:lnTo>
                  <a:lnTo>
                    <a:pt x="797" y="476"/>
                  </a:lnTo>
                  <a:lnTo>
                    <a:pt x="820" y="476"/>
                  </a:lnTo>
                  <a:lnTo>
                    <a:pt x="820" y="476"/>
                  </a:lnTo>
                  <a:lnTo>
                    <a:pt x="832" y="476"/>
                  </a:lnTo>
                  <a:lnTo>
                    <a:pt x="832" y="476"/>
                  </a:lnTo>
                  <a:lnTo>
                    <a:pt x="856" y="476"/>
                  </a:lnTo>
                  <a:lnTo>
                    <a:pt x="856" y="476"/>
                  </a:lnTo>
                  <a:lnTo>
                    <a:pt x="867" y="476"/>
                  </a:lnTo>
                  <a:lnTo>
                    <a:pt x="867" y="476"/>
                  </a:lnTo>
                  <a:lnTo>
                    <a:pt x="891" y="476"/>
                  </a:lnTo>
                  <a:lnTo>
                    <a:pt x="891" y="476"/>
                  </a:lnTo>
                  <a:lnTo>
                    <a:pt x="903" y="476"/>
                  </a:lnTo>
                  <a:lnTo>
                    <a:pt x="903" y="476"/>
                  </a:lnTo>
                  <a:lnTo>
                    <a:pt x="929" y="476"/>
                  </a:lnTo>
                  <a:lnTo>
                    <a:pt x="929" y="476"/>
                  </a:lnTo>
                  <a:lnTo>
                    <a:pt x="940" y="476"/>
                  </a:lnTo>
                  <a:lnTo>
                    <a:pt x="940" y="476"/>
                  </a:lnTo>
                  <a:lnTo>
                    <a:pt x="988" y="476"/>
                  </a:lnTo>
                  <a:lnTo>
                    <a:pt x="988" y="476"/>
                  </a:lnTo>
                  <a:lnTo>
                    <a:pt x="999" y="476"/>
                  </a:lnTo>
                  <a:lnTo>
                    <a:pt x="999" y="476"/>
                  </a:lnTo>
                  <a:lnTo>
                    <a:pt x="1023" y="476"/>
                  </a:lnTo>
                  <a:lnTo>
                    <a:pt x="1023" y="476"/>
                  </a:lnTo>
                  <a:lnTo>
                    <a:pt x="1035" y="476"/>
                  </a:lnTo>
                  <a:lnTo>
                    <a:pt x="1035" y="476"/>
                  </a:lnTo>
                  <a:lnTo>
                    <a:pt x="1058" y="476"/>
                  </a:lnTo>
                  <a:lnTo>
                    <a:pt x="1058" y="476"/>
                  </a:lnTo>
                  <a:lnTo>
                    <a:pt x="1070" y="476"/>
                  </a:lnTo>
                  <a:lnTo>
                    <a:pt x="1070" y="476"/>
                  </a:lnTo>
                  <a:lnTo>
                    <a:pt x="1094" y="476"/>
                  </a:lnTo>
                  <a:lnTo>
                    <a:pt x="1094" y="476"/>
                  </a:lnTo>
                  <a:lnTo>
                    <a:pt x="1105" y="476"/>
                  </a:lnTo>
                  <a:lnTo>
                    <a:pt x="1105" y="476"/>
                  </a:lnTo>
                  <a:lnTo>
                    <a:pt x="1129" y="476"/>
                  </a:lnTo>
                  <a:lnTo>
                    <a:pt x="1129" y="476"/>
                  </a:lnTo>
                  <a:lnTo>
                    <a:pt x="1141" y="476"/>
                  </a:lnTo>
                  <a:lnTo>
                    <a:pt x="1141" y="476"/>
                  </a:lnTo>
                  <a:lnTo>
                    <a:pt x="1167" y="476"/>
                  </a:lnTo>
                  <a:lnTo>
                    <a:pt x="1167" y="476"/>
                  </a:lnTo>
                  <a:lnTo>
                    <a:pt x="1178" y="476"/>
                  </a:lnTo>
                  <a:lnTo>
                    <a:pt x="1178" y="476"/>
                  </a:lnTo>
                  <a:lnTo>
                    <a:pt x="1202" y="476"/>
                  </a:lnTo>
                  <a:lnTo>
                    <a:pt x="1202" y="476"/>
                  </a:lnTo>
                  <a:lnTo>
                    <a:pt x="1214" y="476"/>
                  </a:lnTo>
                  <a:lnTo>
                    <a:pt x="1214" y="476"/>
                  </a:lnTo>
                  <a:lnTo>
                    <a:pt x="1261" y="476"/>
                  </a:lnTo>
                  <a:lnTo>
                    <a:pt x="1261" y="476"/>
                  </a:lnTo>
                  <a:lnTo>
                    <a:pt x="1273" y="476"/>
                  </a:lnTo>
                  <a:lnTo>
                    <a:pt x="1273" y="476"/>
                  </a:lnTo>
                  <a:lnTo>
                    <a:pt x="1296" y="476"/>
                  </a:lnTo>
                  <a:lnTo>
                    <a:pt x="1296" y="476"/>
                  </a:lnTo>
                  <a:lnTo>
                    <a:pt x="1308" y="476"/>
                  </a:lnTo>
                  <a:lnTo>
                    <a:pt x="1308" y="476"/>
                  </a:lnTo>
                  <a:lnTo>
                    <a:pt x="1332" y="476"/>
                  </a:lnTo>
                  <a:lnTo>
                    <a:pt x="1332" y="476"/>
                  </a:lnTo>
                  <a:lnTo>
                    <a:pt x="1343" y="476"/>
                  </a:lnTo>
                  <a:lnTo>
                    <a:pt x="1343" y="476"/>
                  </a:lnTo>
                  <a:lnTo>
                    <a:pt x="1367" y="476"/>
                  </a:lnTo>
                  <a:lnTo>
                    <a:pt x="1367" y="476"/>
                  </a:lnTo>
                  <a:lnTo>
                    <a:pt x="1379" y="476"/>
                  </a:lnTo>
                  <a:lnTo>
                    <a:pt x="1379" y="476"/>
                  </a:lnTo>
                  <a:lnTo>
                    <a:pt x="1405" y="476"/>
                  </a:lnTo>
                  <a:lnTo>
                    <a:pt x="1405" y="476"/>
                  </a:lnTo>
                  <a:lnTo>
                    <a:pt x="1416" y="476"/>
                  </a:lnTo>
                  <a:lnTo>
                    <a:pt x="1416" y="476"/>
                  </a:lnTo>
                  <a:lnTo>
                    <a:pt x="1440" y="476"/>
                  </a:lnTo>
                  <a:lnTo>
                    <a:pt x="1440" y="476"/>
                  </a:lnTo>
                  <a:lnTo>
                    <a:pt x="1452" y="476"/>
                  </a:lnTo>
                  <a:lnTo>
                    <a:pt x="1452" y="476"/>
                  </a:lnTo>
                  <a:lnTo>
                    <a:pt x="1475" y="476"/>
                  </a:lnTo>
                  <a:lnTo>
                    <a:pt x="1475" y="476"/>
                  </a:lnTo>
                  <a:lnTo>
                    <a:pt x="1487" y="476"/>
                  </a:lnTo>
                  <a:lnTo>
                    <a:pt x="1487" y="476"/>
                  </a:lnTo>
                  <a:lnTo>
                    <a:pt x="1534" y="476"/>
                  </a:lnTo>
                  <a:lnTo>
                    <a:pt x="1534" y="476"/>
                  </a:lnTo>
                  <a:lnTo>
                    <a:pt x="1546" y="476"/>
                  </a:lnTo>
                  <a:lnTo>
                    <a:pt x="1546" y="476"/>
                  </a:lnTo>
                  <a:lnTo>
                    <a:pt x="1570" y="476"/>
                  </a:lnTo>
                  <a:lnTo>
                    <a:pt x="1570" y="476"/>
                  </a:lnTo>
                  <a:lnTo>
                    <a:pt x="1581" y="476"/>
                  </a:lnTo>
                  <a:lnTo>
                    <a:pt x="1581" y="476"/>
                  </a:lnTo>
                  <a:lnTo>
                    <a:pt x="1605" y="476"/>
                  </a:lnTo>
                  <a:lnTo>
                    <a:pt x="1605" y="476"/>
                  </a:lnTo>
                  <a:lnTo>
                    <a:pt x="1617" y="476"/>
                  </a:lnTo>
                  <a:lnTo>
                    <a:pt x="1617" y="476"/>
                  </a:lnTo>
                  <a:lnTo>
                    <a:pt x="1643" y="476"/>
                  </a:lnTo>
                  <a:lnTo>
                    <a:pt x="1643" y="476"/>
                  </a:lnTo>
                  <a:lnTo>
                    <a:pt x="1654" y="476"/>
                  </a:lnTo>
                  <a:lnTo>
                    <a:pt x="1654" y="476"/>
                  </a:lnTo>
                  <a:lnTo>
                    <a:pt x="1678" y="476"/>
                  </a:lnTo>
                  <a:lnTo>
                    <a:pt x="1678" y="476"/>
                  </a:lnTo>
                  <a:lnTo>
                    <a:pt x="1690" y="476"/>
                  </a:lnTo>
                  <a:lnTo>
                    <a:pt x="1690" y="476"/>
                  </a:lnTo>
                  <a:lnTo>
                    <a:pt x="1713" y="476"/>
                  </a:lnTo>
                  <a:lnTo>
                    <a:pt x="1713" y="476"/>
                  </a:lnTo>
                  <a:lnTo>
                    <a:pt x="1725" y="476"/>
                  </a:lnTo>
                  <a:lnTo>
                    <a:pt x="1725" y="476"/>
                  </a:lnTo>
                  <a:lnTo>
                    <a:pt x="1749" y="476"/>
                  </a:lnTo>
                  <a:lnTo>
                    <a:pt x="1749" y="476"/>
                  </a:lnTo>
                  <a:lnTo>
                    <a:pt x="1760" y="476"/>
                  </a:lnTo>
                  <a:lnTo>
                    <a:pt x="1760" y="476"/>
                  </a:lnTo>
                  <a:lnTo>
                    <a:pt x="1808" y="476"/>
                  </a:lnTo>
                  <a:lnTo>
                    <a:pt x="1808" y="476"/>
                  </a:lnTo>
                  <a:lnTo>
                    <a:pt x="1819" y="476"/>
                  </a:lnTo>
                  <a:lnTo>
                    <a:pt x="1819" y="476"/>
                  </a:lnTo>
                  <a:lnTo>
                    <a:pt x="1843" y="476"/>
                  </a:lnTo>
                  <a:lnTo>
                    <a:pt x="1843" y="476"/>
                  </a:lnTo>
                  <a:lnTo>
                    <a:pt x="1855" y="476"/>
                  </a:lnTo>
                  <a:lnTo>
                    <a:pt x="1855" y="476"/>
                  </a:lnTo>
                  <a:lnTo>
                    <a:pt x="1878" y="476"/>
                  </a:lnTo>
                  <a:lnTo>
                    <a:pt x="1878" y="476"/>
                  </a:lnTo>
                  <a:lnTo>
                    <a:pt x="1892" y="476"/>
                  </a:lnTo>
                  <a:lnTo>
                    <a:pt x="1892" y="476"/>
                  </a:lnTo>
                  <a:lnTo>
                    <a:pt x="1916" y="476"/>
                  </a:lnTo>
                  <a:lnTo>
                    <a:pt x="1916" y="476"/>
                  </a:lnTo>
                  <a:lnTo>
                    <a:pt x="1928" y="476"/>
                  </a:lnTo>
                  <a:lnTo>
                    <a:pt x="1928" y="476"/>
                  </a:lnTo>
                  <a:lnTo>
                    <a:pt x="1951" y="476"/>
                  </a:lnTo>
                  <a:lnTo>
                    <a:pt x="1951" y="476"/>
                  </a:lnTo>
                  <a:lnTo>
                    <a:pt x="1963" y="476"/>
                  </a:lnTo>
                  <a:lnTo>
                    <a:pt x="1963" y="476"/>
                  </a:lnTo>
                  <a:lnTo>
                    <a:pt x="1987" y="476"/>
                  </a:lnTo>
                  <a:lnTo>
                    <a:pt x="1987" y="476"/>
                  </a:lnTo>
                  <a:lnTo>
                    <a:pt x="1998" y="476"/>
                  </a:lnTo>
                  <a:lnTo>
                    <a:pt x="1998" y="476"/>
                  </a:lnTo>
                  <a:lnTo>
                    <a:pt x="2022" y="476"/>
                  </a:lnTo>
                  <a:lnTo>
                    <a:pt x="2022" y="476"/>
                  </a:lnTo>
                  <a:lnTo>
                    <a:pt x="2034" y="476"/>
                  </a:lnTo>
                  <a:lnTo>
                    <a:pt x="2034" y="476"/>
                  </a:lnTo>
                  <a:lnTo>
                    <a:pt x="2081" y="476"/>
                  </a:lnTo>
                  <a:lnTo>
                    <a:pt x="2081" y="476"/>
                  </a:lnTo>
                  <a:lnTo>
                    <a:pt x="2093" y="476"/>
                  </a:lnTo>
                  <a:lnTo>
                    <a:pt x="2093" y="476"/>
                  </a:lnTo>
                  <a:lnTo>
                    <a:pt x="2116" y="476"/>
                  </a:lnTo>
                  <a:lnTo>
                    <a:pt x="2116" y="476"/>
                  </a:lnTo>
                  <a:lnTo>
                    <a:pt x="2130" y="476"/>
                  </a:lnTo>
                  <a:lnTo>
                    <a:pt x="2130" y="476"/>
                  </a:lnTo>
                  <a:lnTo>
                    <a:pt x="2154" y="476"/>
                  </a:lnTo>
                  <a:lnTo>
                    <a:pt x="2154" y="476"/>
                  </a:lnTo>
                  <a:lnTo>
                    <a:pt x="2166" y="476"/>
                  </a:lnTo>
                  <a:lnTo>
                    <a:pt x="2166" y="476"/>
                  </a:lnTo>
                  <a:lnTo>
                    <a:pt x="2189" y="476"/>
                  </a:lnTo>
                  <a:lnTo>
                    <a:pt x="2189" y="476"/>
                  </a:lnTo>
                  <a:lnTo>
                    <a:pt x="2201" y="476"/>
                  </a:lnTo>
                  <a:lnTo>
                    <a:pt x="2201" y="476"/>
                  </a:lnTo>
                  <a:lnTo>
                    <a:pt x="2225" y="476"/>
                  </a:lnTo>
                  <a:lnTo>
                    <a:pt x="2225" y="476"/>
                  </a:lnTo>
                  <a:lnTo>
                    <a:pt x="2236" y="476"/>
                  </a:lnTo>
                  <a:lnTo>
                    <a:pt x="2236" y="476"/>
                  </a:lnTo>
                  <a:lnTo>
                    <a:pt x="2260" y="476"/>
                  </a:lnTo>
                  <a:lnTo>
                    <a:pt x="2260" y="476"/>
                  </a:lnTo>
                  <a:lnTo>
                    <a:pt x="2272" y="476"/>
                  </a:lnTo>
                  <a:lnTo>
                    <a:pt x="2272" y="476"/>
                  </a:lnTo>
                  <a:lnTo>
                    <a:pt x="2295" y="476"/>
                  </a:lnTo>
                  <a:lnTo>
                    <a:pt x="2295" y="476"/>
                  </a:lnTo>
                  <a:lnTo>
                    <a:pt x="2307" y="476"/>
                  </a:lnTo>
                  <a:lnTo>
                    <a:pt x="2307" y="476"/>
                  </a:lnTo>
                  <a:lnTo>
                    <a:pt x="2331" y="476"/>
                  </a:lnTo>
                  <a:lnTo>
                    <a:pt x="2331" y="22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flipH="1">
              <a:off x="5410516" y="3194420"/>
              <a:ext cx="2948463" cy="602088"/>
            </a:xfrm>
            <a:custGeom>
              <a:avLst/>
              <a:gdLst>
                <a:gd name="T0" fmla="*/ 2260 w 2331"/>
                <a:gd name="T1" fmla="*/ 262 h 476"/>
                <a:gd name="T2" fmla="*/ 2236 w 2331"/>
                <a:gd name="T3" fmla="*/ 273 h 476"/>
                <a:gd name="T4" fmla="*/ 2177 w 2331"/>
                <a:gd name="T5" fmla="*/ 273 h 476"/>
                <a:gd name="T6" fmla="*/ 2135 w 2331"/>
                <a:gd name="T7" fmla="*/ 238 h 476"/>
                <a:gd name="T8" fmla="*/ 2104 w 2331"/>
                <a:gd name="T9" fmla="*/ 285 h 476"/>
                <a:gd name="T10" fmla="*/ 2076 w 2331"/>
                <a:gd name="T11" fmla="*/ 285 h 476"/>
                <a:gd name="T12" fmla="*/ 2053 w 2331"/>
                <a:gd name="T13" fmla="*/ 297 h 476"/>
                <a:gd name="T14" fmla="*/ 1998 w 2331"/>
                <a:gd name="T15" fmla="*/ 320 h 476"/>
                <a:gd name="T16" fmla="*/ 1951 w 2331"/>
                <a:gd name="T17" fmla="*/ 179 h 476"/>
                <a:gd name="T18" fmla="*/ 1904 w 2331"/>
                <a:gd name="T19" fmla="*/ 153 h 476"/>
                <a:gd name="T20" fmla="*/ 1796 w 2331"/>
                <a:gd name="T21" fmla="*/ 262 h 476"/>
                <a:gd name="T22" fmla="*/ 1737 w 2331"/>
                <a:gd name="T23" fmla="*/ 285 h 476"/>
                <a:gd name="T24" fmla="*/ 1702 w 2331"/>
                <a:gd name="T25" fmla="*/ 262 h 476"/>
                <a:gd name="T26" fmla="*/ 1654 w 2331"/>
                <a:gd name="T27" fmla="*/ 231 h 476"/>
                <a:gd name="T28" fmla="*/ 1628 w 2331"/>
                <a:gd name="T29" fmla="*/ 273 h 476"/>
                <a:gd name="T30" fmla="*/ 1581 w 2331"/>
                <a:gd name="T31" fmla="*/ 250 h 476"/>
                <a:gd name="T32" fmla="*/ 1570 w 2331"/>
                <a:gd name="T33" fmla="*/ 141 h 476"/>
                <a:gd name="T34" fmla="*/ 1534 w 2331"/>
                <a:gd name="T35" fmla="*/ 141 h 476"/>
                <a:gd name="T36" fmla="*/ 1499 w 2331"/>
                <a:gd name="T37" fmla="*/ 184 h 476"/>
                <a:gd name="T38" fmla="*/ 1475 w 2331"/>
                <a:gd name="T39" fmla="*/ 285 h 476"/>
                <a:gd name="T40" fmla="*/ 1428 w 2331"/>
                <a:gd name="T41" fmla="*/ 297 h 476"/>
                <a:gd name="T42" fmla="*/ 1428 w 2331"/>
                <a:gd name="T43" fmla="*/ 118 h 476"/>
                <a:gd name="T44" fmla="*/ 1355 w 2331"/>
                <a:gd name="T45" fmla="*/ 106 h 476"/>
                <a:gd name="T46" fmla="*/ 1343 w 2331"/>
                <a:gd name="T47" fmla="*/ 214 h 476"/>
                <a:gd name="T48" fmla="*/ 1320 w 2331"/>
                <a:gd name="T49" fmla="*/ 309 h 476"/>
                <a:gd name="T50" fmla="*/ 1296 w 2331"/>
                <a:gd name="T51" fmla="*/ 356 h 476"/>
                <a:gd name="T52" fmla="*/ 1280 w 2331"/>
                <a:gd name="T53" fmla="*/ 297 h 476"/>
                <a:gd name="T54" fmla="*/ 1237 w 2331"/>
                <a:gd name="T55" fmla="*/ 273 h 476"/>
                <a:gd name="T56" fmla="*/ 1195 w 2331"/>
                <a:gd name="T57" fmla="*/ 297 h 476"/>
                <a:gd name="T58" fmla="*/ 1171 w 2331"/>
                <a:gd name="T59" fmla="*/ 344 h 476"/>
                <a:gd name="T60" fmla="*/ 1141 w 2331"/>
                <a:gd name="T61" fmla="*/ 297 h 476"/>
                <a:gd name="T62" fmla="*/ 1105 w 2331"/>
                <a:gd name="T63" fmla="*/ 273 h 476"/>
                <a:gd name="T64" fmla="*/ 952 w 2331"/>
                <a:gd name="T65" fmla="*/ 344 h 476"/>
                <a:gd name="T66" fmla="*/ 903 w 2331"/>
                <a:gd name="T67" fmla="*/ 262 h 476"/>
                <a:gd name="T68" fmla="*/ 856 w 2331"/>
                <a:gd name="T69" fmla="*/ 59 h 476"/>
                <a:gd name="T70" fmla="*/ 750 w 2331"/>
                <a:gd name="T71" fmla="*/ 35 h 476"/>
                <a:gd name="T72" fmla="*/ 738 w 2331"/>
                <a:gd name="T73" fmla="*/ 141 h 476"/>
                <a:gd name="T74" fmla="*/ 726 w 2331"/>
                <a:gd name="T75" fmla="*/ 278 h 476"/>
                <a:gd name="T76" fmla="*/ 667 w 2331"/>
                <a:gd name="T77" fmla="*/ 273 h 476"/>
                <a:gd name="T78" fmla="*/ 618 w 2331"/>
                <a:gd name="T79" fmla="*/ 297 h 476"/>
                <a:gd name="T80" fmla="*/ 559 w 2331"/>
                <a:gd name="T81" fmla="*/ 320 h 476"/>
                <a:gd name="T82" fmla="*/ 523 w 2331"/>
                <a:gd name="T83" fmla="*/ 344 h 476"/>
                <a:gd name="T84" fmla="*/ 429 w 2331"/>
                <a:gd name="T85" fmla="*/ 339 h 476"/>
                <a:gd name="T86" fmla="*/ 380 w 2331"/>
                <a:gd name="T87" fmla="*/ 356 h 476"/>
                <a:gd name="T88" fmla="*/ 250 w 2331"/>
                <a:gd name="T89" fmla="*/ 356 h 476"/>
                <a:gd name="T90" fmla="*/ 179 w 2331"/>
                <a:gd name="T91" fmla="*/ 356 h 476"/>
                <a:gd name="T92" fmla="*/ 0 w 2331"/>
                <a:gd name="T93" fmla="*/ 415 h 476"/>
                <a:gd name="T94" fmla="*/ 142 w 2331"/>
                <a:gd name="T95" fmla="*/ 476 h 476"/>
                <a:gd name="T96" fmla="*/ 309 w 2331"/>
                <a:gd name="T97" fmla="*/ 476 h 476"/>
                <a:gd name="T98" fmla="*/ 488 w 2331"/>
                <a:gd name="T99" fmla="*/ 476 h 476"/>
                <a:gd name="T100" fmla="*/ 653 w 2331"/>
                <a:gd name="T101" fmla="*/ 476 h 476"/>
                <a:gd name="T102" fmla="*/ 832 w 2331"/>
                <a:gd name="T103" fmla="*/ 476 h 476"/>
                <a:gd name="T104" fmla="*/ 1023 w 2331"/>
                <a:gd name="T105" fmla="*/ 476 h 476"/>
                <a:gd name="T106" fmla="*/ 1178 w 2331"/>
                <a:gd name="T107" fmla="*/ 476 h 476"/>
                <a:gd name="T108" fmla="*/ 1367 w 2331"/>
                <a:gd name="T109" fmla="*/ 476 h 476"/>
                <a:gd name="T110" fmla="*/ 1546 w 2331"/>
                <a:gd name="T111" fmla="*/ 476 h 476"/>
                <a:gd name="T112" fmla="*/ 1713 w 2331"/>
                <a:gd name="T113" fmla="*/ 476 h 476"/>
                <a:gd name="T114" fmla="*/ 1892 w 2331"/>
                <a:gd name="T115" fmla="*/ 476 h 476"/>
                <a:gd name="T116" fmla="*/ 2081 w 2331"/>
                <a:gd name="T117" fmla="*/ 476 h 476"/>
                <a:gd name="T118" fmla="*/ 2236 w 2331"/>
                <a:gd name="T119"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31" h="476">
                  <a:moveTo>
                    <a:pt x="2331" y="226"/>
                  </a:moveTo>
                  <a:lnTo>
                    <a:pt x="2331" y="226"/>
                  </a:lnTo>
                  <a:lnTo>
                    <a:pt x="2295" y="226"/>
                  </a:lnTo>
                  <a:lnTo>
                    <a:pt x="2295" y="226"/>
                  </a:lnTo>
                  <a:lnTo>
                    <a:pt x="2283" y="226"/>
                  </a:lnTo>
                  <a:lnTo>
                    <a:pt x="2283" y="226"/>
                  </a:lnTo>
                  <a:lnTo>
                    <a:pt x="2272" y="226"/>
                  </a:lnTo>
                  <a:lnTo>
                    <a:pt x="2272" y="226"/>
                  </a:lnTo>
                  <a:lnTo>
                    <a:pt x="2272" y="231"/>
                  </a:lnTo>
                  <a:lnTo>
                    <a:pt x="2272" y="238"/>
                  </a:lnTo>
                  <a:lnTo>
                    <a:pt x="2272" y="238"/>
                  </a:lnTo>
                  <a:lnTo>
                    <a:pt x="2267" y="238"/>
                  </a:lnTo>
                  <a:lnTo>
                    <a:pt x="2262" y="236"/>
                  </a:lnTo>
                  <a:lnTo>
                    <a:pt x="2260" y="238"/>
                  </a:lnTo>
                  <a:lnTo>
                    <a:pt x="2260" y="238"/>
                  </a:lnTo>
                  <a:lnTo>
                    <a:pt x="2260" y="250"/>
                  </a:lnTo>
                  <a:lnTo>
                    <a:pt x="2260" y="250"/>
                  </a:lnTo>
                  <a:lnTo>
                    <a:pt x="2260" y="262"/>
                  </a:lnTo>
                  <a:lnTo>
                    <a:pt x="2260" y="262"/>
                  </a:lnTo>
                  <a:lnTo>
                    <a:pt x="2260" y="273"/>
                  </a:lnTo>
                  <a:lnTo>
                    <a:pt x="2260" y="273"/>
                  </a:lnTo>
                  <a:lnTo>
                    <a:pt x="2260" y="297"/>
                  </a:lnTo>
                  <a:lnTo>
                    <a:pt x="2260" y="297"/>
                  </a:lnTo>
                  <a:lnTo>
                    <a:pt x="2260" y="344"/>
                  </a:lnTo>
                  <a:lnTo>
                    <a:pt x="2260" y="344"/>
                  </a:lnTo>
                  <a:lnTo>
                    <a:pt x="2248" y="344"/>
                  </a:lnTo>
                  <a:lnTo>
                    <a:pt x="2248" y="344"/>
                  </a:lnTo>
                  <a:lnTo>
                    <a:pt x="2241" y="344"/>
                  </a:lnTo>
                  <a:lnTo>
                    <a:pt x="2236" y="344"/>
                  </a:lnTo>
                  <a:lnTo>
                    <a:pt x="2236" y="344"/>
                  </a:lnTo>
                  <a:lnTo>
                    <a:pt x="2236" y="332"/>
                  </a:lnTo>
                  <a:lnTo>
                    <a:pt x="2236" y="332"/>
                  </a:lnTo>
                  <a:lnTo>
                    <a:pt x="2236" y="320"/>
                  </a:lnTo>
                  <a:lnTo>
                    <a:pt x="2236" y="320"/>
                  </a:lnTo>
                  <a:lnTo>
                    <a:pt x="2236" y="273"/>
                  </a:lnTo>
                  <a:lnTo>
                    <a:pt x="2236" y="273"/>
                  </a:lnTo>
                  <a:lnTo>
                    <a:pt x="2225" y="273"/>
                  </a:lnTo>
                  <a:lnTo>
                    <a:pt x="2225" y="273"/>
                  </a:lnTo>
                  <a:lnTo>
                    <a:pt x="2213" y="273"/>
                  </a:lnTo>
                  <a:lnTo>
                    <a:pt x="2213" y="273"/>
                  </a:lnTo>
                  <a:lnTo>
                    <a:pt x="2201" y="273"/>
                  </a:lnTo>
                  <a:lnTo>
                    <a:pt x="2201" y="273"/>
                  </a:lnTo>
                  <a:lnTo>
                    <a:pt x="2194" y="273"/>
                  </a:lnTo>
                  <a:lnTo>
                    <a:pt x="2189" y="273"/>
                  </a:lnTo>
                  <a:lnTo>
                    <a:pt x="2189" y="273"/>
                  </a:lnTo>
                  <a:lnTo>
                    <a:pt x="2189" y="278"/>
                  </a:lnTo>
                  <a:lnTo>
                    <a:pt x="2189" y="285"/>
                  </a:lnTo>
                  <a:lnTo>
                    <a:pt x="2189" y="285"/>
                  </a:lnTo>
                  <a:lnTo>
                    <a:pt x="2187" y="285"/>
                  </a:lnTo>
                  <a:lnTo>
                    <a:pt x="2182" y="285"/>
                  </a:lnTo>
                  <a:lnTo>
                    <a:pt x="2177" y="285"/>
                  </a:lnTo>
                  <a:lnTo>
                    <a:pt x="2177" y="285"/>
                  </a:lnTo>
                  <a:lnTo>
                    <a:pt x="2177" y="273"/>
                  </a:lnTo>
                  <a:lnTo>
                    <a:pt x="2177" y="273"/>
                  </a:lnTo>
                  <a:lnTo>
                    <a:pt x="2177" y="262"/>
                  </a:lnTo>
                  <a:lnTo>
                    <a:pt x="2177" y="262"/>
                  </a:lnTo>
                  <a:lnTo>
                    <a:pt x="2177" y="255"/>
                  </a:lnTo>
                  <a:lnTo>
                    <a:pt x="2177" y="250"/>
                  </a:lnTo>
                  <a:lnTo>
                    <a:pt x="2177" y="250"/>
                  </a:lnTo>
                  <a:lnTo>
                    <a:pt x="2170" y="250"/>
                  </a:lnTo>
                  <a:lnTo>
                    <a:pt x="2166" y="250"/>
                  </a:lnTo>
                  <a:lnTo>
                    <a:pt x="2166" y="250"/>
                  </a:lnTo>
                  <a:lnTo>
                    <a:pt x="2166" y="243"/>
                  </a:lnTo>
                  <a:lnTo>
                    <a:pt x="2166" y="238"/>
                  </a:lnTo>
                  <a:lnTo>
                    <a:pt x="2166" y="238"/>
                  </a:lnTo>
                  <a:lnTo>
                    <a:pt x="2163" y="236"/>
                  </a:lnTo>
                  <a:lnTo>
                    <a:pt x="2159" y="238"/>
                  </a:lnTo>
                  <a:lnTo>
                    <a:pt x="2154" y="238"/>
                  </a:lnTo>
                  <a:lnTo>
                    <a:pt x="2154" y="238"/>
                  </a:lnTo>
                  <a:lnTo>
                    <a:pt x="2142" y="238"/>
                  </a:lnTo>
                  <a:lnTo>
                    <a:pt x="2142" y="238"/>
                  </a:lnTo>
                  <a:lnTo>
                    <a:pt x="2135" y="238"/>
                  </a:lnTo>
                  <a:lnTo>
                    <a:pt x="2130" y="238"/>
                  </a:lnTo>
                  <a:lnTo>
                    <a:pt x="2130" y="238"/>
                  </a:lnTo>
                  <a:lnTo>
                    <a:pt x="2128" y="240"/>
                  </a:lnTo>
                  <a:lnTo>
                    <a:pt x="2128" y="243"/>
                  </a:lnTo>
                  <a:lnTo>
                    <a:pt x="2130" y="250"/>
                  </a:lnTo>
                  <a:lnTo>
                    <a:pt x="2130" y="250"/>
                  </a:lnTo>
                  <a:lnTo>
                    <a:pt x="2116" y="250"/>
                  </a:lnTo>
                  <a:lnTo>
                    <a:pt x="2116" y="250"/>
                  </a:lnTo>
                  <a:lnTo>
                    <a:pt x="2111" y="250"/>
                  </a:lnTo>
                  <a:lnTo>
                    <a:pt x="2104" y="250"/>
                  </a:lnTo>
                  <a:lnTo>
                    <a:pt x="2104" y="250"/>
                  </a:lnTo>
                  <a:lnTo>
                    <a:pt x="2104" y="255"/>
                  </a:lnTo>
                  <a:lnTo>
                    <a:pt x="2104" y="262"/>
                  </a:lnTo>
                  <a:lnTo>
                    <a:pt x="2104" y="262"/>
                  </a:lnTo>
                  <a:lnTo>
                    <a:pt x="2104" y="266"/>
                  </a:lnTo>
                  <a:lnTo>
                    <a:pt x="2104" y="273"/>
                  </a:lnTo>
                  <a:lnTo>
                    <a:pt x="2104" y="273"/>
                  </a:lnTo>
                  <a:lnTo>
                    <a:pt x="2104" y="285"/>
                  </a:lnTo>
                  <a:lnTo>
                    <a:pt x="2104" y="285"/>
                  </a:lnTo>
                  <a:lnTo>
                    <a:pt x="2104" y="309"/>
                  </a:lnTo>
                  <a:lnTo>
                    <a:pt x="2104" y="309"/>
                  </a:lnTo>
                  <a:lnTo>
                    <a:pt x="2100" y="309"/>
                  </a:lnTo>
                  <a:lnTo>
                    <a:pt x="2093" y="309"/>
                  </a:lnTo>
                  <a:lnTo>
                    <a:pt x="2093" y="309"/>
                  </a:lnTo>
                  <a:lnTo>
                    <a:pt x="2093" y="304"/>
                  </a:lnTo>
                  <a:lnTo>
                    <a:pt x="2093" y="297"/>
                  </a:lnTo>
                  <a:lnTo>
                    <a:pt x="2093" y="297"/>
                  </a:lnTo>
                  <a:lnTo>
                    <a:pt x="2088" y="297"/>
                  </a:lnTo>
                  <a:lnTo>
                    <a:pt x="2081" y="297"/>
                  </a:lnTo>
                  <a:lnTo>
                    <a:pt x="2081" y="297"/>
                  </a:lnTo>
                  <a:lnTo>
                    <a:pt x="2081" y="295"/>
                  </a:lnTo>
                  <a:lnTo>
                    <a:pt x="2081" y="292"/>
                  </a:lnTo>
                  <a:lnTo>
                    <a:pt x="2081" y="285"/>
                  </a:lnTo>
                  <a:lnTo>
                    <a:pt x="2081" y="285"/>
                  </a:lnTo>
                  <a:lnTo>
                    <a:pt x="2078" y="285"/>
                  </a:lnTo>
                  <a:lnTo>
                    <a:pt x="2076" y="285"/>
                  </a:lnTo>
                  <a:lnTo>
                    <a:pt x="2069" y="285"/>
                  </a:lnTo>
                  <a:lnTo>
                    <a:pt x="2069" y="285"/>
                  </a:lnTo>
                  <a:lnTo>
                    <a:pt x="2069" y="283"/>
                  </a:lnTo>
                  <a:lnTo>
                    <a:pt x="2069" y="278"/>
                  </a:lnTo>
                  <a:lnTo>
                    <a:pt x="2069" y="273"/>
                  </a:lnTo>
                  <a:lnTo>
                    <a:pt x="2069" y="273"/>
                  </a:lnTo>
                  <a:lnTo>
                    <a:pt x="2069" y="266"/>
                  </a:lnTo>
                  <a:lnTo>
                    <a:pt x="2071" y="264"/>
                  </a:lnTo>
                  <a:lnTo>
                    <a:pt x="2069" y="262"/>
                  </a:lnTo>
                  <a:lnTo>
                    <a:pt x="2069" y="262"/>
                  </a:lnTo>
                  <a:lnTo>
                    <a:pt x="2057" y="262"/>
                  </a:lnTo>
                  <a:lnTo>
                    <a:pt x="2057" y="262"/>
                  </a:lnTo>
                  <a:lnTo>
                    <a:pt x="2057" y="266"/>
                  </a:lnTo>
                  <a:lnTo>
                    <a:pt x="2057" y="273"/>
                  </a:lnTo>
                  <a:lnTo>
                    <a:pt x="2057" y="273"/>
                  </a:lnTo>
                  <a:lnTo>
                    <a:pt x="2057" y="297"/>
                  </a:lnTo>
                  <a:lnTo>
                    <a:pt x="2057" y="297"/>
                  </a:lnTo>
                  <a:lnTo>
                    <a:pt x="2053" y="297"/>
                  </a:lnTo>
                  <a:lnTo>
                    <a:pt x="2048" y="297"/>
                  </a:lnTo>
                  <a:lnTo>
                    <a:pt x="2046" y="297"/>
                  </a:lnTo>
                  <a:lnTo>
                    <a:pt x="2046" y="297"/>
                  </a:lnTo>
                  <a:lnTo>
                    <a:pt x="2046" y="304"/>
                  </a:lnTo>
                  <a:lnTo>
                    <a:pt x="2046" y="309"/>
                  </a:lnTo>
                  <a:lnTo>
                    <a:pt x="2046" y="309"/>
                  </a:lnTo>
                  <a:lnTo>
                    <a:pt x="2041" y="309"/>
                  </a:lnTo>
                  <a:lnTo>
                    <a:pt x="2034" y="309"/>
                  </a:lnTo>
                  <a:lnTo>
                    <a:pt x="2034" y="309"/>
                  </a:lnTo>
                  <a:lnTo>
                    <a:pt x="2027" y="309"/>
                  </a:lnTo>
                  <a:lnTo>
                    <a:pt x="2022" y="309"/>
                  </a:lnTo>
                  <a:lnTo>
                    <a:pt x="2022" y="309"/>
                  </a:lnTo>
                  <a:lnTo>
                    <a:pt x="2022" y="311"/>
                  </a:lnTo>
                  <a:lnTo>
                    <a:pt x="2022" y="316"/>
                  </a:lnTo>
                  <a:lnTo>
                    <a:pt x="2022" y="320"/>
                  </a:lnTo>
                  <a:lnTo>
                    <a:pt x="2022" y="320"/>
                  </a:lnTo>
                  <a:lnTo>
                    <a:pt x="1998" y="320"/>
                  </a:lnTo>
                  <a:lnTo>
                    <a:pt x="1998" y="320"/>
                  </a:lnTo>
                  <a:lnTo>
                    <a:pt x="1951" y="320"/>
                  </a:lnTo>
                  <a:lnTo>
                    <a:pt x="1951" y="320"/>
                  </a:lnTo>
                  <a:lnTo>
                    <a:pt x="1951" y="309"/>
                  </a:lnTo>
                  <a:lnTo>
                    <a:pt x="1951" y="309"/>
                  </a:lnTo>
                  <a:lnTo>
                    <a:pt x="1951" y="285"/>
                  </a:lnTo>
                  <a:lnTo>
                    <a:pt x="1951" y="285"/>
                  </a:lnTo>
                  <a:lnTo>
                    <a:pt x="1951" y="273"/>
                  </a:lnTo>
                  <a:lnTo>
                    <a:pt x="1951" y="273"/>
                  </a:lnTo>
                  <a:lnTo>
                    <a:pt x="1951" y="250"/>
                  </a:lnTo>
                  <a:lnTo>
                    <a:pt x="1951" y="250"/>
                  </a:lnTo>
                  <a:lnTo>
                    <a:pt x="1951" y="238"/>
                  </a:lnTo>
                  <a:lnTo>
                    <a:pt x="1951" y="238"/>
                  </a:lnTo>
                  <a:lnTo>
                    <a:pt x="1951" y="214"/>
                  </a:lnTo>
                  <a:lnTo>
                    <a:pt x="1951" y="214"/>
                  </a:lnTo>
                  <a:lnTo>
                    <a:pt x="1951" y="203"/>
                  </a:lnTo>
                  <a:lnTo>
                    <a:pt x="1951" y="203"/>
                  </a:lnTo>
                  <a:lnTo>
                    <a:pt x="1951" y="179"/>
                  </a:lnTo>
                  <a:lnTo>
                    <a:pt x="1951" y="179"/>
                  </a:lnTo>
                  <a:lnTo>
                    <a:pt x="1951" y="153"/>
                  </a:lnTo>
                  <a:lnTo>
                    <a:pt x="1951" y="153"/>
                  </a:lnTo>
                  <a:lnTo>
                    <a:pt x="1944" y="153"/>
                  </a:lnTo>
                  <a:lnTo>
                    <a:pt x="1942" y="156"/>
                  </a:lnTo>
                  <a:lnTo>
                    <a:pt x="1939" y="153"/>
                  </a:lnTo>
                  <a:lnTo>
                    <a:pt x="1939" y="153"/>
                  </a:lnTo>
                  <a:lnTo>
                    <a:pt x="1939" y="148"/>
                  </a:lnTo>
                  <a:lnTo>
                    <a:pt x="1939" y="141"/>
                  </a:lnTo>
                  <a:lnTo>
                    <a:pt x="1939" y="141"/>
                  </a:lnTo>
                  <a:lnTo>
                    <a:pt x="1932" y="141"/>
                  </a:lnTo>
                  <a:lnTo>
                    <a:pt x="1928" y="141"/>
                  </a:lnTo>
                  <a:lnTo>
                    <a:pt x="1928" y="141"/>
                  </a:lnTo>
                  <a:lnTo>
                    <a:pt x="1916" y="141"/>
                  </a:lnTo>
                  <a:lnTo>
                    <a:pt x="1916" y="141"/>
                  </a:lnTo>
                  <a:lnTo>
                    <a:pt x="1904" y="141"/>
                  </a:lnTo>
                  <a:lnTo>
                    <a:pt x="1904" y="141"/>
                  </a:lnTo>
                  <a:lnTo>
                    <a:pt x="1904" y="148"/>
                  </a:lnTo>
                  <a:lnTo>
                    <a:pt x="1904" y="153"/>
                  </a:lnTo>
                  <a:lnTo>
                    <a:pt x="1904" y="153"/>
                  </a:lnTo>
                  <a:lnTo>
                    <a:pt x="1892" y="153"/>
                  </a:lnTo>
                  <a:lnTo>
                    <a:pt x="1892" y="153"/>
                  </a:lnTo>
                  <a:lnTo>
                    <a:pt x="1878" y="153"/>
                  </a:lnTo>
                  <a:lnTo>
                    <a:pt x="1878" y="153"/>
                  </a:lnTo>
                  <a:lnTo>
                    <a:pt x="1866" y="153"/>
                  </a:lnTo>
                  <a:lnTo>
                    <a:pt x="1866" y="153"/>
                  </a:lnTo>
                  <a:lnTo>
                    <a:pt x="1843" y="153"/>
                  </a:lnTo>
                  <a:lnTo>
                    <a:pt x="1843" y="153"/>
                  </a:lnTo>
                  <a:lnTo>
                    <a:pt x="1796" y="153"/>
                  </a:lnTo>
                  <a:lnTo>
                    <a:pt x="1796" y="153"/>
                  </a:lnTo>
                  <a:lnTo>
                    <a:pt x="1796" y="165"/>
                  </a:lnTo>
                  <a:lnTo>
                    <a:pt x="1796" y="165"/>
                  </a:lnTo>
                  <a:lnTo>
                    <a:pt x="1796" y="191"/>
                  </a:lnTo>
                  <a:lnTo>
                    <a:pt x="1796" y="191"/>
                  </a:lnTo>
                  <a:lnTo>
                    <a:pt x="1796" y="238"/>
                  </a:lnTo>
                  <a:lnTo>
                    <a:pt x="1796" y="238"/>
                  </a:lnTo>
                  <a:lnTo>
                    <a:pt x="1796" y="262"/>
                  </a:lnTo>
                  <a:lnTo>
                    <a:pt x="1796" y="262"/>
                  </a:lnTo>
                  <a:lnTo>
                    <a:pt x="1796" y="273"/>
                  </a:lnTo>
                  <a:lnTo>
                    <a:pt x="1796" y="273"/>
                  </a:lnTo>
                  <a:lnTo>
                    <a:pt x="1796" y="297"/>
                  </a:lnTo>
                  <a:lnTo>
                    <a:pt x="1796" y="297"/>
                  </a:lnTo>
                  <a:lnTo>
                    <a:pt x="1784" y="297"/>
                  </a:lnTo>
                  <a:lnTo>
                    <a:pt x="1784" y="297"/>
                  </a:lnTo>
                  <a:lnTo>
                    <a:pt x="1760" y="297"/>
                  </a:lnTo>
                  <a:lnTo>
                    <a:pt x="1760" y="297"/>
                  </a:lnTo>
                  <a:lnTo>
                    <a:pt x="1760" y="290"/>
                  </a:lnTo>
                  <a:lnTo>
                    <a:pt x="1760" y="287"/>
                  </a:lnTo>
                  <a:lnTo>
                    <a:pt x="1760" y="285"/>
                  </a:lnTo>
                  <a:lnTo>
                    <a:pt x="1760" y="285"/>
                  </a:lnTo>
                  <a:lnTo>
                    <a:pt x="1756" y="285"/>
                  </a:lnTo>
                  <a:lnTo>
                    <a:pt x="1749" y="285"/>
                  </a:lnTo>
                  <a:lnTo>
                    <a:pt x="1749" y="285"/>
                  </a:lnTo>
                  <a:lnTo>
                    <a:pt x="1737" y="285"/>
                  </a:lnTo>
                  <a:lnTo>
                    <a:pt x="1737" y="285"/>
                  </a:lnTo>
                  <a:lnTo>
                    <a:pt x="1725" y="285"/>
                  </a:lnTo>
                  <a:lnTo>
                    <a:pt x="1725" y="285"/>
                  </a:lnTo>
                  <a:lnTo>
                    <a:pt x="1725" y="278"/>
                  </a:lnTo>
                  <a:lnTo>
                    <a:pt x="1725" y="276"/>
                  </a:lnTo>
                  <a:lnTo>
                    <a:pt x="1725" y="273"/>
                  </a:lnTo>
                  <a:lnTo>
                    <a:pt x="1725" y="273"/>
                  </a:lnTo>
                  <a:lnTo>
                    <a:pt x="1723" y="273"/>
                  </a:lnTo>
                  <a:lnTo>
                    <a:pt x="1718" y="273"/>
                  </a:lnTo>
                  <a:lnTo>
                    <a:pt x="1713" y="273"/>
                  </a:lnTo>
                  <a:lnTo>
                    <a:pt x="1713" y="273"/>
                  </a:lnTo>
                  <a:lnTo>
                    <a:pt x="1706" y="273"/>
                  </a:lnTo>
                  <a:lnTo>
                    <a:pt x="1704" y="273"/>
                  </a:lnTo>
                  <a:lnTo>
                    <a:pt x="1702" y="273"/>
                  </a:lnTo>
                  <a:lnTo>
                    <a:pt x="1702" y="273"/>
                  </a:lnTo>
                  <a:lnTo>
                    <a:pt x="1699" y="271"/>
                  </a:lnTo>
                  <a:lnTo>
                    <a:pt x="1702" y="266"/>
                  </a:lnTo>
                  <a:lnTo>
                    <a:pt x="1702" y="262"/>
                  </a:lnTo>
                  <a:lnTo>
                    <a:pt x="1702" y="262"/>
                  </a:lnTo>
                  <a:lnTo>
                    <a:pt x="1702" y="255"/>
                  </a:lnTo>
                  <a:lnTo>
                    <a:pt x="1702" y="250"/>
                  </a:lnTo>
                  <a:lnTo>
                    <a:pt x="1702" y="250"/>
                  </a:lnTo>
                  <a:lnTo>
                    <a:pt x="1702" y="243"/>
                  </a:lnTo>
                  <a:lnTo>
                    <a:pt x="1702" y="238"/>
                  </a:lnTo>
                  <a:lnTo>
                    <a:pt x="1702" y="238"/>
                  </a:lnTo>
                  <a:lnTo>
                    <a:pt x="1690" y="238"/>
                  </a:lnTo>
                  <a:lnTo>
                    <a:pt x="1690" y="238"/>
                  </a:lnTo>
                  <a:lnTo>
                    <a:pt x="1683" y="238"/>
                  </a:lnTo>
                  <a:lnTo>
                    <a:pt x="1678" y="238"/>
                  </a:lnTo>
                  <a:lnTo>
                    <a:pt x="1678" y="238"/>
                  </a:lnTo>
                  <a:lnTo>
                    <a:pt x="1676" y="236"/>
                  </a:lnTo>
                  <a:lnTo>
                    <a:pt x="1678" y="231"/>
                  </a:lnTo>
                  <a:lnTo>
                    <a:pt x="1678" y="226"/>
                  </a:lnTo>
                  <a:lnTo>
                    <a:pt x="1678" y="226"/>
                  </a:lnTo>
                  <a:lnTo>
                    <a:pt x="1654" y="226"/>
                  </a:lnTo>
                  <a:lnTo>
                    <a:pt x="1654" y="226"/>
                  </a:lnTo>
                  <a:lnTo>
                    <a:pt x="1654" y="231"/>
                  </a:lnTo>
                  <a:lnTo>
                    <a:pt x="1654" y="236"/>
                  </a:lnTo>
                  <a:lnTo>
                    <a:pt x="1654" y="238"/>
                  </a:lnTo>
                  <a:lnTo>
                    <a:pt x="1654" y="238"/>
                  </a:lnTo>
                  <a:lnTo>
                    <a:pt x="1652" y="238"/>
                  </a:lnTo>
                  <a:lnTo>
                    <a:pt x="1647" y="238"/>
                  </a:lnTo>
                  <a:lnTo>
                    <a:pt x="1643" y="238"/>
                  </a:lnTo>
                  <a:lnTo>
                    <a:pt x="1643" y="238"/>
                  </a:lnTo>
                  <a:lnTo>
                    <a:pt x="1636" y="238"/>
                  </a:lnTo>
                  <a:lnTo>
                    <a:pt x="1631" y="236"/>
                  </a:lnTo>
                  <a:lnTo>
                    <a:pt x="1628" y="238"/>
                  </a:lnTo>
                  <a:lnTo>
                    <a:pt x="1628" y="238"/>
                  </a:lnTo>
                  <a:lnTo>
                    <a:pt x="1628" y="243"/>
                  </a:lnTo>
                  <a:lnTo>
                    <a:pt x="1628" y="250"/>
                  </a:lnTo>
                  <a:lnTo>
                    <a:pt x="1628" y="250"/>
                  </a:lnTo>
                  <a:lnTo>
                    <a:pt x="1628" y="255"/>
                  </a:lnTo>
                  <a:lnTo>
                    <a:pt x="1628" y="262"/>
                  </a:lnTo>
                  <a:lnTo>
                    <a:pt x="1628" y="262"/>
                  </a:lnTo>
                  <a:lnTo>
                    <a:pt x="1628" y="273"/>
                  </a:lnTo>
                  <a:lnTo>
                    <a:pt x="1628" y="273"/>
                  </a:lnTo>
                  <a:lnTo>
                    <a:pt x="1631" y="280"/>
                  </a:lnTo>
                  <a:lnTo>
                    <a:pt x="1628" y="285"/>
                  </a:lnTo>
                  <a:lnTo>
                    <a:pt x="1628" y="285"/>
                  </a:lnTo>
                  <a:lnTo>
                    <a:pt x="1624" y="285"/>
                  </a:lnTo>
                  <a:lnTo>
                    <a:pt x="1617" y="285"/>
                  </a:lnTo>
                  <a:lnTo>
                    <a:pt x="1617" y="285"/>
                  </a:lnTo>
                  <a:lnTo>
                    <a:pt x="1617" y="278"/>
                  </a:lnTo>
                  <a:lnTo>
                    <a:pt x="1617" y="273"/>
                  </a:lnTo>
                  <a:lnTo>
                    <a:pt x="1617" y="273"/>
                  </a:lnTo>
                  <a:lnTo>
                    <a:pt x="1593" y="273"/>
                  </a:lnTo>
                  <a:lnTo>
                    <a:pt x="1593" y="273"/>
                  </a:lnTo>
                  <a:lnTo>
                    <a:pt x="1588" y="273"/>
                  </a:lnTo>
                  <a:lnTo>
                    <a:pt x="1581" y="273"/>
                  </a:lnTo>
                  <a:lnTo>
                    <a:pt x="1581" y="273"/>
                  </a:lnTo>
                  <a:lnTo>
                    <a:pt x="1581" y="262"/>
                  </a:lnTo>
                  <a:lnTo>
                    <a:pt x="1581" y="262"/>
                  </a:lnTo>
                  <a:lnTo>
                    <a:pt x="1581" y="250"/>
                  </a:lnTo>
                  <a:lnTo>
                    <a:pt x="1581" y="250"/>
                  </a:lnTo>
                  <a:lnTo>
                    <a:pt x="1581" y="238"/>
                  </a:lnTo>
                  <a:lnTo>
                    <a:pt x="1581" y="238"/>
                  </a:lnTo>
                  <a:lnTo>
                    <a:pt x="1581" y="191"/>
                  </a:lnTo>
                  <a:lnTo>
                    <a:pt x="1581" y="191"/>
                  </a:lnTo>
                  <a:lnTo>
                    <a:pt x="1581" y="179"/>
                  </a:lnTo>
                  <a:lnTo>
                    <a:pt x="1581" y="179"/>
                  </a:lnTo>
                  <a:lnTo>
                    <a:pt x="1581" y="172"/>
                  </a:lnTo>
                  <a:lnTo>
                    <a:pt x="1581" y="165"/>
                  </a:lnTo>
                  <a:lnTo>
                    <a:pt x="1581" y="165"/>
                  </a:lnTo>
                  <a:lnTo>
                    <a:pt x="1577" y="165"/>
                  </a:lnTo>
                  <a:lnTo>
                    <a:pt x="1570" y="165"/>
                  </a:lnTo>
                  <a:lnTo>
                    <a:pt x="1570" y="165"/>
                  </a:lnTo>
                  <a:lnTo>
                    <a:pt x="1570" y="153"/>
                  </a:lnTo>
                  <a:lnTo>
                    <a:pt x="1570" y="153"/>
                  </a:lnTo>
                  <a:lnTo>
                    <a:pt x="1570" y="148"/>
                  </a:lnTo>
                  <a:lnTo>
                    <a:pt x="1570" y="141"/>
                  </a:lnTo>
                  <a:lnTo>
                    <a:pt x="1570" y="141"/>
                  </a:lnTo>
                  <a:lnTo>
                    <a:pt x="1565" y="141"/>
                  </a:lnTo>
                  <a:lnTo>
                    <a:pt x="1558" y="141"/>
                  </a:lnTo>
                  <a:lnTo>
                    <a:pt x="1558" y="141"/>
                  </a:lnTo>
                  <a:lnTo>
                    <a:pt x="1558" y="139"/>
                  </a:lnTo>
                  <a:lnTo>
                    <a:pt x="1558" y="137"/>
                  </a:lnTo>
                  <a:lnTo>
                    <a:pt x="1558" y="130"/>
                  </a:lnTo>
                  <a:lnTo>
                    <a:pt x="1558" y="130"/>
                  </a:lnTo>
                  <a:lnTo>
                    <a:pt x="1558" y="106"/>
                  </a:lnTo>
                  <a:lnTo>
                    <a:pt x="1558" y="106"/>
                  </a:lnTo>
                  <a:lnTo>
                    <a:pt x="1534" y="106"/>
                  </a:lnTo>
                  <a:lnTo>
                    <a:pt x="1534" y="106"/>
                  </a:lnTo>
                  <a:lnTo>
                    <a:pt x="1534" y="118"/>
                  </a:lnTo>
                  <a:lnTo>
                    <a:pt x="1534" y="118"/>
                  </a:lnTo>
                  <a:lnTo>
                    <a:pt x="1534" y="130"/>
                  </a:lnTo>
                  <a:lnTo>
                    <a:pt x="1534" y="130"/>
                  </a:lnTo>
                  <a:lnTo>
                    <a:pt x="1534" y="137"/>
                  </a:lnTo>
                  <a:lnTo>
                    <a:pt x="1534" y="141"/>
                  </a:lnTo>
                  <a:lnTo>
                    <a:pt x="1534" y="141"/>
                  </a:lnTo>
                  <a:lnTo>
                    <a:pt x="1527" y="141"/>
                  </a:lnTo>
                  <a:lnTo>
                    <a:pt x="1522" y="141"/>
                  </a:lnTo>
                  <a:lnTo>
                    <a:pt x="1522" y="141"/>
                  </a:lnTo>
                  <a:lnTo>
                    <a:pt x="1522" y="148"/>
                  </a:lnTo>
                  <a:lnTo>
                    <a:pt x="1522" y="153"/>
                  </a:lnTo>
                  <a:lnTo>
                    <a:pt x="1522" y="153"/>
                  </a:lnTo>
                  <a:lnTo>
                    <a:pt x="1515" y="153"/>
                  </a:lnTo>
                  <a:lnTo>
                    <a:pt x="1511" y="153"/>
                  </a:lnTo>
                  <a:lnTo>
                    <a:pt x="1511" y="153"/>
                  </a:lnTo>
                  <a:lnTo>
                    <a:pt x="1511" y="160"/>
                  </a:lnTo>
                  <a:lnTo>
                    <a:pt x="1511" y="165"/>
                  </a:lnTo>
                  <a:lnTo>
                    <a:pt x="1511" y="165"/>
                  </a:lnTo>
                  <a:lnTo>
                    <a:pt x="1511" y="179"/>
                  </a:lnTo>
                  <a:lnTo>
                    <a:pt x="1511" y="179"/>
                  </a:lnTo>
                  <a:lnTo>
                    <a:pt x="1504" y="177"/>
                  </a:lnTo>
                  <a:lnTo>
                    <a:pt x="1499" y="179"/>
                  </a:lnTo>
                  <a:lnTo>
                    <a:pt x="1499" y="179"/>
                  </a:lnTo>
                  <a:lnTo>
                    <a:pt x="1499" y="184"/>
                  </a:lnTo>
                  <a:lnTo>
                    <a:pt x="1499" y="191"/>
                  </a:lnTo>
                  <a:lnTo>
                    <a:pt x="1499" y="191"/>
                  </a:lnTo>
                  <a:lnTo>
                    <a:pt x="1499" y="203"/>
                  </a:lnTo>
                  <a:lnTo>
                    <a:pt x="1499" y="203"/>
                  </a:lnTo>
                  <a:lnTo>
                    <a:pt x="1499" y="226"/>
                  </a:lnTo>
                  <a:lnTo>
                    <a:pt x="1499" y="226"/>
                  </a:lnTo>
                  <a:lnTo>
                    <a:pt x="1499" y="273"/>
                  </a:lnTo>
                  <a:lnTo>
                    <a:pt x="1499" y="273"/>
                  </a:lnTo>
                  <a:lnTo>
                    <a:pt x="1492" y="273"/>
                  </a:lnTo>
                  <a:lnTo>
                    <a:pt x="1489" y="273"/>
                  </a:lnTo>
                  <a:lnTo>
                    <a:pt x="1487" y="273"/>
                  </a:lnTo>
                  <a:lnTo>
                    <a:pt x="1487" y="273"/>
                  </a:lnTo>
                  <a:lnTo>
                    <a:pt x="1487" y="280"/>
                  </a:lnTo>
                  <a:lnTo>
                    <a:pt x="1487" y="285"/>
                  </a:lnTo>
                  <a:lnTo>
                    <a:pt x="1487" y="285"/>
                  </a:lnTo>
                  <a:lnTo>
                    <a:pt x="1480" y="285"/>
                  </a:lnTo>
                  <a:lnTo>
                    <a:pt x="1475" y="285"/>
                  </a:lnTo>
                  <a:lnTo>
                    <a:pt x="1475" y="285"/>
                  </a:lnTo>
                  <a:lnTo>
                    <a:pt x="1468" y="285"/>
                  </a:lnTo>
                  <a:lnTo>
                    <a:pt x="1464" y="285"/>
                  </a:lnTo>
                  <a:lnTo>
                    <a:pt x="1464" y="285"/>
                  </a:lnTo>
                  <a:lnTo>
                    <a:pt x="1464" y="287"/>
                  </a:lnTo>
                  <a:lnTo>
                    <a:pt x="1464" y="290"/>
                  </a:lnTo>
                  <a:lnTo>
                    <a:pt x="1464" y="297"/>
                  </a:lnTo>
                  <a:lnTo>
                    <a:pt x="1464" y="297"/>
                  </a:lnTo>
                  <a:lnTo>
                    <a:pt x="1456" y="297"/>
                  </a:lnTo>
                  <a:lnTo>
                    <a:pt x="1452" y="297"/>
                  </a:lnTo>
                  <a:lnTo>
                    <a:pt x="1452" y="297"/>
                  </a:lnTo>
                  <a:lnTo>
                    <a:pt x="1452" y="302"/>
                  </a:lnTo>
                  <a:lnTo>
                    <a:pt x="1452" y="309"/>
                  </a:lnTo>
                  <a:lnTo>
                    <a:pt x="1452" y="309"/>
                  </a:lnTo>
                  <a:lnTo>
                    <a:pt x="1452" y="320"/>
                  </a:lnTo>
                  <a:lnTo>
                    <a:pt x="1452" y="320"/>
                  </a:lnTo>
                  <a:lnTo>
                    <a:pt x="1428" y="320"/>
                  </a:lnTo>
                  <a:lnTo>
                    <a:pt x="1428" y="320"/>
                  </a:lnTo>
                  <a:lnTo>
                    <a:pt x="1428" y="297"/>
                  </a:lnTo>
                  <a:lnTo>
                    <a:pt x="1428" y="297"/>
                  </a:lnTo>
                  <a:lnTo>
                    <a:pt x="1428" y="285"/>
                  </a:lnTo>
                  <a:lnTo>
                    <a:pt x="1428" y="285"/>
                  </a:lnTo>
                  <a:lnTo>
                    <a:pt x="1428" y="262"/>
                  </a:lnTo>
                  <a:lnTo>
                    <a:pt x="1428" y="262"/>
                  </a:lnTo>
                  <a:lnTo>
                    <a:pt x="1428" y="214"/>
                  </a:lnTo>
                  <a:lnTo>
                    <a:pt x="1428" y="214"/>
                  </a:lnTo>
                  <a:lnTo>
                    <a:pt x="1428" y="191"/>
                  </a:lnTo>
                  <a:lnTo>
                    <a:pt x="1428" y="191"/>
                  </a:lnTo>
                  <a:lnTo>
                    <a:pt x="1428" y="179"/>
                  </a:lnTo>
                  <a:lnTo>
                    <a:pt x="1428" y="179"/>
                  </a:lnTo>
                  <a:lnTo>
                    <a:pt x="1428" y="153"/>
                  </a:lnTo>
                  <a:lnTo>
                    <a:pt x="1428" y="153"/>
                  </a:lnTo>
                  <a:lnTo>
                    <a:pt x="1428" y="141"/>
                  </a:lnTo>
                  <a:lnTo>
                    <a:pt x="1428" y="141"/>
                  </a:lnTo>
                  <a:lnTo>
                    <a:pt x="1428" y="130"/>
                  </a:lnTo>
                  <a:lnTo>
                    <a:pt x="1428" y="130"/>
                  </a:lnTo>
                  <a:lnTo>
                    <a:pt x="1428" y="118"/>
                  </a:lnTo>
                  <a:lnTo>
                    <a:pt x="1428" y="118"/>
                  </a:lnTo>
                  <a:lnTo>
                    <a:pt x="1421" y="118"/>
                  </a:lnTo>
                  <a:lnTo>
                    <a:pt x="1416" y="118"/>
                  </a:lnTo>
                  <a:lnTo>
                    <a:pt x="1416" y="118"/>
                  </a:lnTo>
                  <a:lnTo>
                    <a:pt x="1416" y="106"/>
                  </a:lnTo>
                  <a:lnTo>
                    <a:pt x="1416" y="106"/>
                  </a:lnTo>
                  <a:lnTo>
                    <a:pt x="1416" y="94"/>
                  </a:lnTo>
                  <a:lnTo>
                    <a:pt x="1416" y="94"/>
                  </a:lnTo>
                  <a:lnTo>
                    <a:pt x="1390" y="94"/>
                  </a:lnTo>
                  <a:lnTo>
                    <a:pt x="1390" y="94"/>
                  </a:lnTo>
                  <a:lnTo>
                    <a:pt x="1367" y="94"/>
                  </a:lnTo>
                  <a:lnTo>
                    <a:pt x="1367" y="94"/>
                  </a:lnTo>
                  <a:lnTo>
                    <a:pt x="1362" y="94"/>
                  </a:lnTo>
                  <a:lnTo>
                    <a:pt x="1358" y="94"/>
                  </a:lnTo>
                  <a:lnTo>
                    <a:pt x="1355" y="94"/>
                  </a:lnTo>
                  <a:lnTo>
                    <a:pt x="1355" y="94"/>
                  </a:lnTo>
                  <a:lnTo>
                    <a:pt x="1355" y="101"/>
                  </a:lnTo>
                  <a:lnTo>
                    <a:pt x="1355" y="106"/>
                  </a:lnTo>
                  <a:lnTo>
                    <a:pt x="1355" y="106"/>
                  </a:lnTo>
                  <a:lnTo>
                    <a:pt x="1358" y="113"/>
                  </a:lnTo>
                  <a:lnTo>
                    <a:pt x="1355" y="118"/>
                  </a:lnTo>
                  <a:lnTo>
                    <a:pt x="1355" y="118"/>
                  </a:lnTo>
                  <a:lnTo>
                    <a:pt x="1350" y="118"/>
                  </a:lnTo>
                  <a:lnTo>
                    <a:pt x="1343" y="118"/>
                  </a:lnTo>
                  <a:lnTo>
                    <a:pt x="1343" y="118"/>
                  </a:lnTo>
                  <a:lnTo>
                    <a:pt x="1343" y="130"/>
                  </a:lnTo>
                  <a:lnTo>
                    <a:pt x="1343" y="130"/>
                  </a:lnTo>
                  <a:lnTo>
                    <a:pt x="1343" y="141"/>
                  </a:lnTo>
                  <a:lnTo>
                    <a:pt x="1343" y="141"/>
                  </a:lnTo>
                  <a:lnTo>
                    <a:pt x="1343" y="153"/>
                  </a:lnTo>
                  <a:lnTo>
                    <a:pt x="1343" y="153"/>
                  </a:lnTo>
                  <a:lnTo>
                    <a:pt x="1343" y="179"/>
                  </a:lnTo>
                  <a:lnTo>
                    <a:pt x="1343" y="179"/>
                  </a:lnTo>
                  <a:lnTo>
                    <a:pt x="1343" y="191"/>
                  </a:lnTo>
                  <a:lnTo>
                    <a:pt x="1343" y="191"/>
                  </a:lnTo>
                  <a:lnTo>
                    <a:pt x="1343" y="214"/>
                  </a:lnTo>
                  <a:lnTo>
                    <a:pt x="1343" y="214"/>
                  </a:lnTo>
                  <a:lnTo>
                    <a:pt x="1343" y="262"/>
                  </a:lnTo>
                  <a:lnTo>
                    <a:pt x="1343" y="262"/>
                  </a:lnTo>
                  <a:lnTo>
                    <a:pt x="1343" y="273"/>
                  </a:lnTo>
                  <a:lnTo>
                    <a:pt x="1343" y="273"/>
                  </a:lnTo>
                  <a:lnTo>
                    <a:pt x="1339" y="273"/>
                  </a:lnTo>
                  <a:lnTo>
                    <a:pt x="1332" y="273"/>
                  </a:lnTo>
                  <a:lnTo>
                    <a:pt x="1332" y="273"/>
                  </a:lnTo>
                  <a:lnTo>
                    <a:pt x="1332" y="278"/>
                  </a:lnTo>
                  <a:lnTo>
                    <a:pt x="1332" y="285"/>
                  </a:lnTo>
                  <a:lnTo>
                    <a:pt x="1332" y="285"/>
                  </a:lnTo>
                  <a:lnTo>
                    <a:pt x="1329" y="285"/>
                  </a:lnTo>
                  <a:lnTo>
                    <a:pt x="1327" y="285"/>
                  </a:lnTo>
                  <a:lnTo>
                    <a:pt x="1320" y="285"/>
                  </a:lnTo>
                  <a:lnTo>
                    <a:pt x="1320" y="285"/>
                  </a:lnTo>
                  <a:lnTo>
                    <a:pt x="1320" y="297"/>
                  </a:lnTo>
                  <a:lnTo>
                    <a:pt x="1320" y="297"/>
                  </a:lnTo>
                  <a:lnTo>
                    <a:pt x="1320" y="309"/>
                  </a:lnTo>
                  <a:lnTo>
                    <a:pt x="1320" y="309"/>
                  </a:lnTo>
                  <a:lnTo>
                    <a:pt x="1320" y="320"/>
                  </a:lnTo>
                  <a:lnTo>
                    <a:pt x="1320" y="320"/>
                  </a:lnTo>
                  <a:lnTo>
                    <a:pt x="1320" y="332"/>
                  </a:lnTo>
                  <a:lnTo>
                    <a:pt x="1320" y="332"/>
                  </a:lnTo>
                  <a:lnTo>
                    <a:pt x="1320" y="344"/>
                  </a:lnTo>
                  <a:lnTo>
                    <a:pt x="1320" y="344"/>
                  </a:lnTo>
                  <a:lnTo>
                    <a:pt x="1320" y="351"/>
                  </a:lnTo>
                  <a:lnTo>
                    <a:pt x="1320" y="356"/>
                  </a:lnTo>
                  <a:lnTo>
                    <a:pt x="1320" y="356"/>
                  </a:lnTo>
                  <a:lnTo>
                    <a:pt x="1317" y="358"/>
                  </a:lnTo>
                  <a:lnTo>
                    <a:pt x="1315" y="356"/>
                  </a:lnTo>
                  <a:lnTo>
                    <a:pt x="1308" y="356"/>
                  </a:lnTo>
                  <a:lnTo>
                    <a:pt x="1308" y="356"/>
                  </a:lnTo>
                  <a:lnTo>
                    <a:pt x="1303" y="356"/>
                  </a:lnTo>
                  <a:lnTo>
                    <a:pt x="1299" y="356"/>
                  </a:lnTo>
                  <a:lnTo>
                    <a:pt x="1296" y="356"/>
                  </a:lnTo>
                  <a:lnTo>
                    <a:pt x="1296" y="356"/>
                  </a:lnTo>
                  <a:lnTo>
                    <a:pt x="1296" y="344"/>
                  </a:lnTo>
                  <a:lnTo>
                    <a:pt x="1296" y="344"/>
                  </a:lnTo>
                  <a:lnTo>
                    <a:pt x="1296" y="332"/>
                  </a:lnTo>
                  <a:lnTo>
                    <a:pt x="1296" y="332"/>
                  </a:lnTo>
                  <a:lnTo>
                    <a:pt x="1296" y="320"/>
                  </a:lnTo>
                  <a:lnTo>
                    <a:pt x="1296" y="320"/>
                  </a:lnTo>
                  <a:lnTo>
                    <a:pt x="1296" y="309"/>
                  </a:lnTo>
                  <a:lnTo>
                    <a:pt x="1296" y="309"/>
                  </a:lnTo>
                  <a:lnTo>
                    <a:pt x="1296" y="302"/>
                  </a:lnTo>
                  <a:lnTo>
                    <a:pt x="1296" y="297"/>
                  </a:lnTo>
                  <a:lnTo>
                    <a:pt x="1296" y="297"/>
                  </a:lnTo>
                  <a:lnTo>
                    <a:pt x="1294" y="297"/>
                  </a:lnTo>
                  <a:lnTo>
                    <a:pt x="1292" y="297"/>
                  </a:lnTo>
                  <a:lnTo>
                    <a:pt x="1287" y="297"/>
                  </a:lnTo>
                  <a:lnTo>
                    <a:pt x="1284" y="297"/>
                  </a:lnTo>
                  <a:lnTo>
                    <a:pt x="1284" y="297"/>
                  </a:lnTo>
                  <a:lnTo>
                    <a:pt x="1282" y="297"/>
                  </a:lnTo>
                  <a:lnTo>
                    <a:pt x="1280" y="297"/>
                  </a:lnTo>
                  <a:lnTo>
                    <a:pt x="1275" y="297"/>
                  </a:lnTo>
                  <a:lnTo>
                    <a:pt x="1273" y="297"/>
                  </a:lnTo>
                  <a:lnTo>
                    <a:pt x="1273" y="297"/>
                  </a:lnTo>
                  <a:lnTo>
                    <a:pt x="1273" y="290"/>
                  </a:lnTo>
                  <a:lnTo>
                    <a:pt x="1273" y="285"/>
                  </a:lnTo>
                  <a:lnTo>
                    <a:pt x="1273" y="285"/>
                  </a:lnTo>
                  <a:lnTo>
                    <a:pt x="1268" y="285"/>
                  </a:lnTo>
                  <a:lnTo>
                    <a:pt x="1261" y="285"/>
                  </a:lnTo>
                  <a:lnTo>
                    <a:pt x="1261" y="285"/>
                  </a:lnTo>
                  <a:lnTo>
                    <a:pt x="1254" y="285"/>
                  </a:lnTo>
                  <a:lnTo>
                    <a:pt x="1249" y="285"/>
                  </a:lnTo>
                  <a:lnTo>
                    <a:pt x="1249" y="285"/>
                  </a:lnTo>
                  <a:lnTo>
                    <a:pt x="1249" y="283"/>
                  </a:lnTo>
                  <a:lnTo>
                    <a:pt x="1249" y="278"/>
                  </a:lnTo>
                  <a:lnTo>
                    <a:pt x="1249" y="273"/>
                  </a:lnTo>
                  <a:lnTo>
                    <a:pt x="1249" y="273"/>
                  </a:lnTo>
                  <a:lnTo>
                    <a:pt x="1237" y="273"/>
                  </a:lnTo>
                  <a:lnTo>
                    <a:pt x="1237" y="273"/>
                  </a:lnTo>
                  <a:lnTo>
                    <a:pt x="1230" y="273"/>
                  </a:lnTo>
                  <a:lnTo>
                    <a:pt x="1226" y="273"/>
                  </a:lnTo>
                  <a:lnTo>
                    <a:pt x="1226" y="273"/>
                  </a:lnTo>
                  <a:lnTo>
                    <a:pt x="1226" y="280"/>
                  </a:lnTo>
                  <a:lnTo>
                    <a:pt x="1226" y="285"/>
                  </a:lnTo>
                  <a:lnTo>
                    <a:pt x="1226" y="285"/>
                  </a:lnTo>
                  <a:lnTo>
                    <a:pt x="1218" y="285"/>
                  </a:lnTo>
                  <a:lnTo>
                    <a:pt x="1214" y="285"/>
                  </a:lnTo>
                  <a:lnTo>
                    <a:pt x="1214" y="285"/>
                  </a:lnTo>
                  <a:lnTo>
                    <a:pt x="1207" y="285"/>
                  </a:lnTo>
                  <a:lnTo>
                    <a:pt x="1202" y="285"/>
                  </a:lnTo>
                  <a:lnTo>
                    <a:pt x="1202" y="285"/>
                  </a:lnTo>
                  <a:lnTo>
                    <a:pt x="1200" y="287"/>
                  </a:lnTo>
                  <a:lnTo>
                    <a:pt x="1202" y="290"/>
                  </a:lnTo>
                  <a:lnTo>
                    <a:pt x="1202" y="295"/>
                  </a:lnTo>
                  <a:lnTo>
                    <a:pt x="1202" y="297"/>
                  </a:lnTo>
                  <a:lnTo>
                    <a:pt x="1202" y="297"/>
                  </a:lnTo>
                  <a:lnTo>
                    <a:pt x="1195" y="297"/>
                  </a:lnTo>
                  <a:lnTo>
                    <a:pt x="1190" y="297"/>
                  </a:lnTo>
                  <a:lnTo>
                    <a:pt x="1190" y="297"/>
                  </a:lnTo>
                  <a:lnTo>
                    <a:pt x="1183" y="297"/>
                  </a:lnTo>
                  <a:lnTo>
                    <a:pt x="1178" y="297"/>
                  </a:lnTo>
                  <a:lnTo>
                    <a:pt x="1178" y="297"/>
                  </a:lnTo>
                  <a:lnTo>
                    <a:pt x="1178" y="302"/>
                  </a:lnTo>
                  <a:lnTo>
                    <a:pt x="1178" y="309"/>
                  </a:lnTo>
                  <a:lnTo>
                    <a:pt x="1178" y="309"/>
                  </a:lnTo>
                  <a:lnTo>
                    <a:pt x="1176" y="316"/>
                  </a:lnTo>
                  <a:lnTo>
                    <a:pt x="1178" y="320"/>
                  </a:lnTo>
                  <a:lnTo>
                    <a:pt x="1178" y="320"/>
                  </a:lnTo>
                  <a:lnTo>
                    <a:pt x="1178" y="332"/>
                  </a:lnTo>
                  <a:lnTo>
                    <a:pt x="1178" y="332"/>
                  </a:lnTo>
                  <a:lnTo>
                    <a:pt x="1178" y="339"/>
                  </a:lnTo>
                  <a:lnTo>
                    <a:pt x="1178" y="344"/>
                  </a:lnTo>
                  <a:lnTo>
                    <a:pt x="1178" y="344"/>
                  </a:lnTo>
                  <a:lnTo>
                    <a:pt x="1176" y="344"/>
                  </a:lnTo>
                  <a:lnTo>
                    <a:pt x="1171" y="344"/>
                  </a:lnTo>
                  <a:lnTo>
                    <a:pt x="1167" y="344"/>
                  </a:lnTo>
                  <a:lnTo>
                    <a:pt x="1167" y="344"/>
                  </a:lnTo>
                  <a:lnTo>
                    <a:pt x="1167" y="320"/>
                  </a:lnTo>
                  <a:lnTo>
                    <a:pt x="1167" y="320"/>
                  </a:lnTo>
                  <a:lnTo>
                    <a:pt x="1160" y="320"/>
                  </a:lnTo>
                  <a:lnTo>
                    <a:pt x="1157" y="320"/>
                  </a:lnTo>
                  <a:lnTo>
                    <a:pt x="1155" y="320"/>
                  </a:lnTo>
                  <a:lnTo>
                    <a:pt x="1155" y="320"/>
                  </a:lnTo>
                  <a:lnTo>
                    <a:pt x="1153" y="318"/>
                  </a:lnTo>
                  <a:lnTo>
                    <a:pt x="1153" y="316"/>
                  </a:lnTo>
                  <a:lnTo>
                    <a:pt x="1155" y="309"/>
                  </a:lnTo>
                  <a:lnTo>
                    <a:pt x="1155" y="309"/>
                  </a:lnTo>
                  <a:lnTo>
                    <a:pt x="1153" y="306"/>
                  </a:lnTo>
                  <a:lnTo>
                    <a:pt x="1155" y="304"/>
                  </a:lnTo>
                  <a:lnTo>
                    <a:pt x="1155" y="299"/>
                  </a:lnTo>
                  <a:lnTo>
                    <a:pt x="1155" y="297"/>
                  </a:lnTo>
                  <a:lnTo>
                    <a:pt x="1155" y="297"/>
                  </a:lnTo>
                  <a:lnTo>
                    <a:pt x="1141" y="297"/>
                  </a:lnTo>
                  <a:lnTo>
                    <a:pt x="1141" y="297"/>
                  </a:lnTo>
                  <a:lnTo>
                    <a:pt x="1136" y="297"/>
                  </a:lnTo>
                  <a:lnTo>
                    <a:pt x="1129" y="297"/>
                  </a:lnTo>
                  <a:lnTo>
                    <a:pt x="1129" y="297"/>
                  </a:lnTo>
                  <a:lnTo>
                    <a:pt x="1129" y="295"/>
                  </a:lnTo>
                  <a:lnTo>
                    <a:pt x="1129" y="292"/>
                  </a:lnTo>
                  <a:lnTo>
                    <a:pt x="1129" y="285"/>
                  </a:lnTo>
                  <a:lnTo>
                    <a:pt x="1129" y="285"/>
                  </a:lnTo>
                  <a:lnTo>
                    <a:pt x="1127" y="285"/>
                  </a:lnTo>
                  <a:lnTo>
                    <a:pt x="1124" y="285"/>
                  </a:lnTo>
                  <a:lnTo>
                    <a:pt x="1120" y="285"/>
                  </a:lnTo>
                  <a:lnTo>
                    <a:pt x="1117" y="285"/>
                  </a:lnTo>
                  <a:lnTo>
                    <a:pt x="1117" y="285"/>
                  </a:lnTo>
                  <a:lnTo>
                    <a:pt x="1117" y="283"/>
                  </a:lnTo>
                  <a:lnTo>
                    <a:pt x="1117" y="278"/>
                  </a:lnTo>
                  <a:lnTo>
                    <a:pt x="1117" y="273"/>
                  </a:lnTo>
                  <a:lnTo>
                    <a:pt x="1117" y="273"/>
                  </a:lnTo>
                  <a:lnTo>
                    <a:pt x="1105" y="273"/>
                  </a:lnTo>
                  <a:lnTo>
                    <a:pt x="1105" y="273"/>
                  </a:lnTo>
                  <a:lnTo>
                    <a:pt x="1094" y="273"/>
                  </a:lnTo>
                  <a:lnTo>
                    <a:pt x="1094" y="273"/>
                  </a:lnTo>
                  <a:lnTo>
                    <a:pt x="1046" y="273"/>
                  </a:lnTo>
                  <a:lnTo>
                    <a:pt x="1046" y="273"/>
                  </a:lnTo>
                  <a:lnTo>
                    <a:pt x="1046" y="297"/>
                  </a:lnTo>
                  <a:lnTo>
                    <a:pt x="1046" y="297"/>
                  </a:lnTo>
                  <a:lnTo>
                    <a:pt x="1023" y="297"/>
                  </a:lnTo>
                  <a:lnTo>
                    <a:pt x="1023" y="297"/>
                  </a:lnTo>
                  <a:lnTo>
                    <a:pt x="1023" y="344"/>
                  </a:lnTo>
                  <a:lnTo>
                    <a:pt x="1023" y="344"/>
                  </a:lnTo>
                  <a:lnTo>
                    <a:pt x="1011" y="344"/>
                  </a:lnTo>
                  <a:lnTo>
                    <a:pt x="1011" y="344"/>
                  </a:lnTo>
                  <a:lnTo>
                    <a:pt x="988" y="344"/>
                  </a:lnTo>
                  <a:lnTo>
                    <a:pt x="988" y="344"/>
                  </a:lnTo>
                  <a:lnTo>
                    <a:pt x="964" y="344"/>
                  </a:lnTo>
                  <a:lnTo>
                    <a:pt x="964" y="344"/>
                  </a:lnTo>
                  <a:lnTo>
                    <a:pt x="952" y="344"/>
                  </a:lnTo>
                  <a:lnTo>
                    <a:pt x="952" y="344"/>
                  </a:lnTo>
                  <a:lnTo>
                    <a:pt x="940" y="344"/>
                  </a:lnTo>
                  <a:lnTo>
                    <a:pt x="940" y="344"/>
                  </a:lnTo>
                  <a:lnTo>
                    <a:pt x="929" y="344"/>
                  </a:lnTo>
                  <a:lnTo>
                    <a:pt x="929" y="344"/>
                  </a:lnTo>
                  <a:lnTo>
                    <a:pt x="922" y="344"/>
                  </a:lnTo>
                  <a:lnTo>
                    <a:pt x="917" y="344"/>
                  </a:lnTo>
                  <a:lnTo>
                    <a:pt x="917" y="344"/>
                  </a:lnTo>
                  <a:lnTo>
                    <a:pt x="917" y="339"/>
                  </a:lnTo>
                  <a:lnTo>
                    <a:pt x="917" y="332"/>
                  </a:lnTo>
                  <a:lnTo>
                    <a:pt x="917" y="332"/>
                  </a:lnTo>
                  <a:lnTo>
                    <a:pt x="915" y="332"/>
                  </a:lnTo>
                  <a:lnTo>
                    <a:pt x="910" y="332"/>
                  </a:lnTo>
                  <a:lnTo>
                    <a:pt x="903" y="332"/>
                  </a:lnTo>
                  <a:lnTo>
                    <a:pt x="903" y="332"/>
                  </a:lnTo>
                  <a:lnTo>
                    <a:pt x="903" y="309"/>
                  </a:lnTo>
                  <a:lnTo>
                    <a:pt x="903" y="309"/>
                  </a:lnTo>
                  <a:lnTo>
                    <a:pt x="903" y="262"/>
                  </a:lnTo>
                  <a:lnTo>
                    <a:pt x="903" y="262"/>
                  </a:lnTo>
                  <a:lnTo>
                    <a:pt x="903" y="250"/>
                  </a:lnTo>
                  <a:lnTo>
                    <a:pt x="903" y="250"/>
                  </a:lnTo>
                  <a:lnTo>
                    <a:pt x="903" y="226"/>
                  </a:lnTo>
                  <a:lnTo>
                    <a:pt x="903" y="226"/>
                  </a:lnTo>
                  <a:lnTo>
                    <a:pt x="903" y="203"/>
                  </a:lnTo>
                  <a:lnTo>
                    <a:pt x="903" y="203"/>
                  </a:lnTo>
                  <a:lnTo>
                    <a:pt x="856" y="203"/>
                  </a:lnTo>
                  <a:lnTo>
                    <a:pt x="856" y="203"/>
                  </a:lnTo>
                  <a:lnTo>
                    <a:pt x="856" y="191"/>
                  </a:lnTo>
                  <a:lnTo>
                    <a:pt x="856" y="191"/>
                  </a:lnTo>
                  <a:lnTo>
                    <a:pt x="856" y="141"/>
                  </a:lnTo>
                  <a:lnTo>
                    <a:pt x="856" y="141"/>
                  </a:lnTo>
                  <a:lnTo>
                    <a:pt x="856" y="118"/>
                  </a:lnTo>
                  <a:lnTo>
                    <a:pt x="856" y="118"/>
                  </a:lnTo>
                  <a:lnTo>
                    <a:pt x="856" y="106"/>
                  </a:lnTo>
                  <a:lnTo>
                    <a:pt x="856" y="106"/>
                  </a:lnTo>
                  <a:lnTo>
                    <a:pt x="856" y="59"/>
                  </a:lnTo>
                  <a:lnTo>
                    <a:pt x="856" y="59"/>
                  </a:lnTo>
                  <a:lnTo>
                    <a:pt x="856" y="47"/>
                  </a:lnTo>
                  <a:lnTo>
                    <a:pt x="856" y="47"/>
                  </a:lnTo>
                  <a:lnTo>
                    <a:pt x="856" y="24"/>
                  </a:lnTo>
                  <a:lnTo>
                    <a:pt x="856" y="24"/>
                  </a:lnTo>
                  <a:lnTo>
                    <a:pt x="851" y="24"/>
                  </a:lnTo>
                  <a:lnTo>
                    <a:pt x="844" y="24"/>
                  </a:lnTo>
                  <a:lnTo>
                    <a:pt x="844" y="24"/>
                  </a:lnTo>
                  <a:lnTo>
                    <a:pt x="844" y="12"/>
                  </a:lnTo>
                  <a:lnTo>
                    <a:pt x="844" y="12"/>
                  </a:lnTo>
                  <a:lnTo>
                    <a:pt x="844" y="0"/>
                  </a:lnTo>
                  <a:lnTo>
                    <a:pt x="844" y="0"/>
                  </a:lnTo>
                  <a:lnTo>
                    <a:pt x="750" y="0"/>
                  </a:lnTo>
                  <a:lnTo>
                    <a:pt x="750" y="0"/>
                  </a:lnTo>
                  <a:lnTo>
                    <a:pt x="750" y="12"/>
                  </a:lnTo>
                  <a:lnTo>
                    <a:pt x="750" y="12"/>
                  </a:lnTo>
                  <a:lnTo>
                    <a:pt x="750" y="35"/>
                  </a:lnTo>
                  <a:lnTo>
                    <a:pt x="750" y="35"/>
                  </a:lnTo>
                  <a:lnTo>
                    <a:pt x="750" y="47"/>
                  </a:lnTo>
                  <a:lnTo>
                    <a:pt x="750" y="47"/>
                  </a:lnTo>
                  <a:lnTo>
                    <a:pt x="750" y="54"/>
                  </a:lnTo>
                  <a:lnTo>
                    <a:pt x="750" y="59"/>
                  </a:lnTo>
                  <a:lnTo>
                    <a:pt x="750" y="59"/>
                  </a:lnTo>
                  <a:lnTo>
                    <a:pt x="743" y="59"/>
                  </a:lnTo>
                  <a:lnTo>
                    <a:pt x="738" y="59"/>
                  </a:lnTo>
                  <a:lnTo>
                    <a:pt x="738" y="59"/>
                  </a:lnTo>
                  <a:lnTo>
                    <a:pt x="738" y="64"/>
                  </a:lnTo>
                  <a:lnTo>
                    <a:pt x="738" y="71"/>
                  </a:lnTo>
                  <a:lnTo>
                    <a:pt x="738" y="71"/>
                  </a:lnTo>
                  <a:lnTo>
                    <a:pt x="738" y="82"/>
                  </a:lnTo>
                  <a:lnTo>
                    <a:pt x="738" y="82"/>
                  </a:lnTo>
                  <a:lnTo>
                    <a:pt x="738" y="106"/>
                  </a:lnTo>
                  <a:lnTo>
                    <a:pt x="738" y="106"/>
                  </a:lnTo>
                  <a:lnTo>
                    <a:pt x="738" y="118"/>
                  </a:lnTo>
                  <a:lnTo>
                    <a:pt x="738" y="118"/>
                  </a:lnTo>
                  <a:lnTo>
                    <a:pt x="738" y="141"/>
                  </a:lnTo>
                  <a:lnTo>
                    <a:pt x="738" y="141"/>
                  </a:lnTo>
                  <a:lnTo>
                    <a:pt x="738" y="238"/>
                  </a:lnTo>
                  <a:lnTo>
                    <a:pt x="738" y="238"/>
                  </a:lnTo>
                  <a:lnTo>
                    <a:pt x="738" y="250"/>
                  </a:lnTo>
                  <a:lnTo>
                    <a:pt x="738" y="250"/>
                  </a:lnTo>
                  <a:lnTo>
                    <a:pt x="738" y="273"/>
                  </a:lnTo>
                  <a:lnTo>
                    <a:pt x="738" y="273"/>
                  </a:lnTo>
                  <a:lnTo>
                    <a:pt x="738" y="320"/>
                  </a:lnTo>
                  <a:lnTo>
                    <a:pt x="738" y="320"/>
                  </a:lnTo>
                  <a:lnTo>
                    <a:pt x="726" y="320"/>
                  </a:lnTo>
                  <a:lnTo>
                    <a:pt x="726" y="320"/>
                  </a:lnTo>
                  <a:lnTo>
                    <a:pt x="726" y="309"/>
                  </a:lnTo>
                  <a:lnTo>
                    <a:pt x="726" y="309"/>
                  </a:lnTo>
                  <a:lnTo>
                    <a:pt x="726" y="297"/>
                  </a:lnTo>
                  <a:lnTo>
                    <a:pt x="726" y="297"/>
                  </a:lnTo>
                  <a:lnTo>
                    <a:pt x="726" y="285"/>
                  </a:lnTo>
                  <a:lnTo>
                    <a:pt x="726" y="285"/>
                  </a:lnTo>
                  <a:lnTo>
                    <a:pt x="726" y="278"/>
                  </a:lnTo>
                  <a:lnTo>
                    <a:pt x="726" y="273"/>
                  </a:lnTo>
                  <a:lnTo>
                    <a:pt x="726" y="273"/>
                  </a:lnTo>
                  <a:lnTo>
                    <a:pt x="724" y="273"/>
                  </a:lnTo>
                  <a:lnTo>
                    <a:pt x="719" y="273"/>
                  </a:lnTo>
                  <a:lnTo>
                    <a:pt x="714" y="273"/>
                  </a:lnTo>
                  <a:lnTo>
                    <a:pt x="714" y="273"/>
                  </a:lnTo>
                  <a:lnTo>
                    <a:pt x="712" y="271"/>
                  </a:lnTo>
                  <a:lnTo>
                    <a:pt x="714" y="266"/>
                  </a:lnTo>
                  <a:lnTo>
                    <a:pt x="714" y="262"/>
                  </a:lnTo>
                  <a:lnTo>
                    <a:pt x="714" y="262"/>
                  </a:lnTo>
                  <a:lnTo>
                    <a:pt x="702" y="262"/>
                  </a:lnTo>
                  <a:lnTo>
                    <a:pt x="702" y="262"/>
                  </a:lnTo>
                  <a:lnTo>
                    <a:pt x="679" y="262"/>
                  </a:lnTo>
                  <a:lnTo>
                    <a:pt x="679" y="262"/>
                  </a:lnTo>
                  <a:lnTo>
                    <a:pt x="679" y="266"/>
                  </a:lnTo>
                  <a:lnTo>
                    <a:pt x="679" y="273"/>
                  </a:lnTo>
                  <a:lnTo>
                    <a:pt x="679" y="273"/>
                  </a:lnTo>
                  <a:lnTo>
                    <a:pt x="667" y="273"/>
                  </a:lnTo>
                  <a:lnTo>
                    <a:pt x="667" y="273"/>
                  </a:lnTo>
                  <a:lnTo>
                    <a:pt x="660" y="273"/>
                  </a:lnTo>
                  <a:lnTo>
                    <a:pt x="653" y="273"/>
                  </a:lnTo>
                  <a:lnTo>
                    <a:pt x="653" y="273"/>
                  </a:lnTo>
                  <a:lnTo>
                    <a:pt x="653" y="278"/>
                  </a:lnTo>
                  <a:lnTo>
                    <a:pt x="653" y="285"/>
                  </a:lnTo>
                  <a:lnTo>
                    <a:pt x="653" y="285"/>
                  </a:lnTo>
                  <a:lnTo>
                    <a:pt x="641" y="285"/>
                  </a:lnTo>
                  <a:lnTo>
                    <a:pt x="641" y="285"/>
                  </a:lnTo>
                  <a:lnTo>
                    <a:pt x="629" y="285"/>
                  </a:lnTo>
                  <a:lnTo>
                    <a:pt x="629" y="285"/>
                  </a:lnTo>
                  <a:lnTo>
                    <a:pt x="629" y="292"/>
                  </a:lnTo>
                  <a:lnTo>
                    <a:pt x="632" y="295"/>
                  </a:lnTo>
                  <a:lnTo>
                    <a:pt x="629" y="297"/>
                  </a:lnTo>
                  <a:lnTo>
                    <a:pt x="629" y="297"/>
                  </a:lnTo>
                  <a:lnTo>
                    <a:pt x="625" y="297"/>
                  </a:lnTo>
                  <a:lnTo>
                    <a:pt x="618" y="297"/>
                  </a:lnTo>
                  <a:lnTo>
                    <a:pt x="618" y="297"/>
                  </a:lnTo>
                  <a:lnTo>
                    <a:pt x="613" y="297"/>
                  </a:lnTo>
                  <a:lnTo>
                    <a:pt x="606" y="297"/>
                  </a:lnTo>
                  <a:lnTo>
                    <a:pt x="606" y="297"/>
                  </a:lnTo>
                  <a:lnTo>
                    <a:pt x="594" y="297"/>
                  </a:lnTo>
                  <a:lnTo>
                    <a:pt x="594" y="297"/>
                  </a:lnTo>
                  <a:lnTo>
                    <a:pt x="582" y="297"/>
                  </a:lnTo>
                  <a:lnTo>
                    <a:pt x="582" y="297"/>
                  </a:lnTo>
                  <a:lnTo>
                    <a:pt x="582" y="302"/>
                  </a:lnTo>
                  <a:lnTo>
                    <a:pt x="582" y="309"/>
                  </a:lnTo>
                  <a:lnTo>
                    <a:pt x="582" y="309"/>
                  </a:lnTo>
                  <a:lnTo>
                    <a:pt x="578" y="309"/>
                  </a:lnTo>
                  <a:lnTo>
                    <a:pt x="571" y="309"/>
                  </a:lnTo>
                  <a:lnTo>
                    <a:pt x="571" y="309"/>
                  </a:lnTo>
                  <a:lnTo>
                    <a:pt x="571" y="316"/>
                  </a:lnTo>
                  <a:lnTo>
                    <a:pt x="571" y="320"/>
                  </a:lnTo>
                  <a:lnTo>
                    <a:pt x="571" y="320"/>
                  </a:lnTo>
                  <a:lnTo>
                    <a:pt x="566" y="320"/>
                  </a:lnTo>
                  <a:lnTo>
                    <a:pt x="559" y="320"/>
                  </a:lnTo>
                  <a:lnTo>
                    <a:pt x="559" y="320"/>
                  </a:lnTo>
                  <a:lnTo>
                    <a:pt x="559" y="328"/>
                  </a:lnTo>
                  <a:lnTo>
                    <a:pt x="559" y="332"/>
                  </a:lnTo>
                  <a:lnTo>
                    <a:pt x="559" y="332"/>
                  </a:lnTo>
                  <a:lnTo>
                    <a:pt x="559" y="356"/>
                  </a:lnTo>
                  <a:lnTo>
                    <a:pt x="559" y="356"/>
                  </a:lnTo>
                  <a:lnTo>
                    <a:pt x="554" y="356"/>
                  </a:lnTo>
                  <a:lnTo>
                    <a:pt x="547" y="356"/>
                  </a:lnTo>
                  <a:lnTo>
                    <a:pt x="547" y="356"/>
                  </a:lnTo>
                  <a:lnTo>
                    <a:pt x="542" y="356"/>
                  </a:lnTo>
                  <a:lnTo>
                    <a:pt x="535" y="356"/>
                  </a:lnTo>
                  <a:lnTo>
                    <a:pt x="535" y="356"/>
                  </a:lnTo>
                  <a:lnTo>
                    <a:pt x="528" y="356"/>
                  </a:lnTo>
                  <a:lnTo>
                    <a:pt x="523" y="356"/>
                  </a:lnTo>
                  <a:lnTo>
                    <a:pt x="523" y="356"/>
                  </a:lnTo>
                  <a:lnTo>
                    <a:pt x="523" y="351"/>
                  </a:lnTo>
                  <a:lnTo>
                    <a:pt x="523" y="344"/>
                  </a:lnTo>
                  <a:lnTo>
                    <a:pt x="523" y="344"/>
                  </a:lnTo>
                  <a:lnTo>
                    <a:pt x="512" y="344"/>
                  </a:lnTo>
                  <a:lnTo>
                    <a:pt x="512" y="344"/>
                  </a:lnTo>
                  <a:lnTo>
                    <a:pt x="500" y="344"/>
                  </a:lnTo>
                  <a:lnTo>
                    <a:pt x="500" y="344"/>
                  </a:lnTo>
                  <a:lnTo>
                    <a:pt x="476" y="344"/>
                  </a:lnTo>
                  <a:lnTo>
                    <a:pt x="476" y="344"/>
                  </a:lnTo>
                  <a:lnTo>
                    <a:pt x="453" y="344"/>
                  </a:lnTo>
                  <a:lnTo>
                    <a:pt x="453" y="344"/>
                  </a:lnTo>
                  <a:lnTo>
                    <a:pt x="453" y="339"/>
                  </a:lnTo>
                  <a:lnTo>
                    <a:pt x="453" y="335"/>
                  </a:lnTo>
                  <a:lnTo>
                    <a:pt x="453" y="332"/>
                  </a:lnTo>
                  <a:lnTo>
                    <a:pt x="453" y="332"/>
                  </a:lnTo>
                  <a:lnTo>
                    <a:pt x="446" y="332"/>
                  </a:lnTo>
                  <a:lnTo>
                    <a:pt x="441" y="332"/>
                  </a:lnTo>
                  <a:lnTo>
                    <a:pt x="441" y="332"/>
                  </a:lnTo>
                  <a:lnTo>
                    <a:pt x="429" y="332"/>
                  </a:lnTo>
                  <a:lnTo>
                    <a:pt x="429" y="332"/>
                  </a:lnTo>
                  <a:lnTo>
                    <a:pt x="429" y="339"/>
                  </a:lnTo>
                  <a:lnTo>
                    <a:pt x="429" y="342"/>
                  </a:lnTo>
                  <a:lnTo>
                    <a:pt x="429" y="344"/>
                  </a:lnTo>
                  <a:lnTo>
                    <a:pt x="429" y="344"/>
                  </a:lnTo>
                  <a:lnTo>
                    <a:pt x="422" y="344"/>
                  </a:lnTo>
                  <a:lnTo>
                    <a:pt x="417" y="344"/>
                  </a:lnTo>
                  <a:lnTo>
                    <a:pt x="417" y="344"/>
                  </a:lnTo>
                  <a:lnTo>
                    <a:pt x="403" y="344"/>
                  </a:lnTo>
                  <a:lnTo>
                    <a:pt x="403" y="344"/>
                  </a:lnTo>
                  <a:lnTo>
                    <a:pt x="399" y="344"/>
                  </a:lnTo>
                  <a:lnTo>
                    <a:pt x="391" y="344"/>
                  </a:lnTo>
                  <a:lnTo>
                    <a:pt x="391" y="344"/>
                  </a:lnTo>
                  <a:lnTo>
                    <a:pt x="387" y="344"/>
                  </a:lnTo>
                  <a:lnTo>
                    <a:pt x="380" y="344"/>
                  </a:lnTo>
                  <a:lnTo>
                    <a:pt x="380" y="344"/>
                  </a:lnTo>
                  <a:lnTo>
                    <a:pt x="380" y="346"/>
                  </a:lnTo>
                  <a:lnTo>
                    <a:pt x="380" y="351"/>
                  </a:lnTo>
                  <a:lnTo>
                    <a:pt x="380" y="356"/>
                  </a:lnTo>
                  <a:lnTo>
                    <a:pt x="380" y="356"/>
                  </a:lnTo>
                  <a:lnTo>
                    <a:pt x="356" y="356"/>
                  </a:lnTo>
                  <a:lnTo>
                    <a:pt x="356" y="356"/>
                  </a:lnTo>
                  <a:lnTo>
                    <a:pt x="344" y="356"/>
                  </a:lnTo>
                  <a:lnTo>
                    <a:pt x="344" y="356"/>
                  </a:lnTo>
                  <a:lnTo>
                    <a:pt x="321" y="356"/>
                  </a:lnTo>
                  <a:lnTo>
                    <a:pt x="321" y="356"/>
                  </a:lnTo>
                  <a:lnTo>
                    <a:pt x="309" y="356"/>
                  </a:lnTo>
                  <a:lnTo>
                    <a:pt x="309" y="356"/>
                  </a:lnTo>
                  <a:lnTo>
                    <a:pt x="297" y="356"/>
                  </a:lnTo>
                  <a:lnTo>
                    <a:pt x="297" y="356"/>
                  </a:lnTo>
                  <a:lnTo>
                    <a:pt x="285" y="356"/>
                  </a:lnTo>
                  <a:lnTo>
                    <a:pt x="285" y="356"/>
                  </a:lnTo>
                  <a:lnTo>
                    <a:pt x="274" y="356"/>
                  </a:lnTo>
                  <a:lnTo>
                    <a:pt x="274" y="356"/>
                  </a:lnTo>
                  <a:lnTo>
                    <a:pt x="262" y="356"/>
                  </a:lnTo>
                  <a:lnTo>
                    <a:pt x="262" y="356"/>
                  </a:lnTo>
                  <a:lnTo>
                    <a:pt x="250" y="356"/>
                  </a:lnTo>
                  <a:lnTo>
                    <a:pt x="250" y="356"/>
                  </a:lnTo>
                  <a:lnTo>
                    <a:pt x="243" y="356"/>
                  </a:lnTo>
                  <a:lnTo>
                    <a:pt x="238" y="356"/>
                  </a:lnTo>
                  <a:lnTo>
                    <a:pt x="238" y="356"/>
                  </a:lnTo>
                  <a:lnTo>
                    <a:pt x="238" y="351"/>
                  </a:lnTo>
                  <a:lnTo>
                    <a:pt x="238" y="344"/>
                  </a:lnTo>
                  <a:lnTo>
                    <a:pt x="238" y="344"/>
                  </a:lnTo>
                  <a:lnTo>
                    <a:pt x="231" y="344"/>
                  </a:lnTo>
                  <a:lnTo>
                    <a:pt x="227" y="344"/>
                  </a:lnTo>
                  <a:lnTo>
                    <a:pt x="227" y="344"/>
                  </a:lnTo>
                  <a:lnTo>
                    <a:pt x="227" y="356"/>
                  </a:lnTo>
                  <a:lnTo>
                    <a:pt x="227" y="356"/>
                  </a:lnTo>
                  <a:lnTo>
                    <a:pt x="215" y="356"/>
                  </a:lnTo>
                  <a:lnTo>
                    <a:pt x="215" y="356"/>
                  </a:lnTo>
                  <a:lnTo>
                    <a:pt x="203" y="356"/>
                  </a:lnTo>
                  <a:lnTo>
                    <a:pt x="203" y="356"/>
                  </a:lnTo>
                  <a:lnTo>
                    <a:pt x="191" y="356"/>
                  </a:lnTo>
                  <a:lnTo>
                    <a:pt x="191" y="356"/>
                  </a:lnTo>
                  <a:lnTo>
                    <a:pt x="179" y="356"/>
                  </a:lnTo>
                  <a:lnTo>
                    <a:pt x="179" y="356"/>
                  </a:lnTo>
                  <a:lnTo>
                    <a:pt x="165" y="356"/>
                  </a:lnTo>
                  <a:lnTo>
                    <a:pt x="165" y="356"/>
                  </a:lnTo>
                  <a:lnTo>
                    <a:pt x="153" y="356"/>
                  </a:lnTo>
                  <a:lnTo>
                    <a:pt x="153" y="356"/>
                  </a:lnTo>
                  <a:lnTo>
                    <a:pt x="130" y="356"/>
                  </a:lnTo>
                  <a:lnTo>
                    <a:pt x="130" y="356"/>
                  </a:lnTo>
                  <a:lnTo>
                    <a:pt x="118" y="356"/>
                  </a:lnTo>
                  <a:lnTo>
                    <a:pt x="118" y="356"/>
                  </a:lnTo>
                  <a:lnTo>
                    <a:pt x="95" y="356"/>
                  </a:lnTo>
                  <a:lnTo>
                    <a:pt x="95" y="356"/>
                  </a:lnTo>
                  <a:lnTo>
                    <a:pt x="0" y="356"/>
                  </a:lnTo>
                  <a:lnTo>
                    <a:pt x="0" y="356"/>
                  </a:lnTo>
                  <a:lnTo>
                    <a:pt x="0" y="379"/>
                  </a:lnTo>
                  <a:lnTo>
                    <a:pt x="0" y="379"/>
                  </a:lnTo>
                  <a:lnTo>
                    <a:pt x="0" y="391"/>
                  </a:lnTo>
                  <a:lnTo>
                    <a:pt x="0" y="391"/>
                  </a:lnTo>
                  <a:lnTo>
                    <a:pt x="0" y="415"/>
                  </a:lnTo>
                  <a:lnTo>
                    <a:pt x="0" y="415"/>
                  </a:lnTo>
                  <a:lnTo>
                    <a:pt x="0" y="429"/>
                  </a:lnTo>
                  <a:lnTo>
                    <a:pt x="0" y="429"/>
                  </a:lnTo>
                  <a:lnTo>
                    <a:pt x="0" y="452"/>
                  </a:lnTo>
                  <a:lnTo>
                    <a:pt x="0" y="452"/>
                  </a:lnTo>
                  <a:lnTo>
                    <a:pt x="0" y="476"/>
                  </a:lnTo>
                  <a:lnTo>
                    <a:pt x="0" y="476"/>
                  </a:lnTo>
                  <a:lnTo>
                    <a:pt x="12" y="476"/>
                  </a:lnTo>
                  <a:lnTo>
                    <a:pt x="12" y="476"/>
                  </a:lnTo>
                  <a:lnTo>
                    <a:pt x="36" y="476"/>
                  </a:lnTo>
                  <a:lnTo>
                    <a:pt x="36" y="476"/>
                  </a:lnTo>
                  <a:lnTo>
                    <a:pt x="83" y="476"/>
                  </a:lnTo>
                  <a:lnTo>
                    <a:pt x="83" y="476"/>
                  </a:lnTo>
                  <a:lnTo>
                    <a:pt x="106" y="476"/>
                  </a:lnTo>
                  <a:lnTo>
                    <a:pt x="106" y="476"/>
                  </a:lnTo>
                  <a:lnTo>
                    <a:pt x="118" y="476"/>
                  </a:lnTo>
                  <a:lnTo>
                    <a:pt x="118" y="476"/>
                  </a:lnTo>
                  <a:lnTo>
                    <a:pt x="142" y="476"/>
                  </a:lnTo>
                  <a:lnTo>
                    <a:pt x="142" y="476"/>
                  </a:lnTo>
                  <a:lnTo>
                    <a:pt x="165" y="476"/>
                  </a:lnTo>
                  <a:lnTo>
                    <a:pt x="165" y="476"/>
                  </a:lnTo>
                  <a:lnTo>
                    <a:pt x="179" y="476"/>
                  </a:lnTo>
                  <a:lnTo>
                    <a:pt x="179" y="476"/>
                  </a:lnTo>
                  <a:lnTo>
                    <a:pt x="203" y="476"/>
                  </a:lnTo>
                  <a:lnTo>
                    <a:pt x="203" y="476"/>
                  </a:lnTo>
                  <a:lnTo>
                    <a:pt x="215" y="476"/>
                  </a:lnTo>
                  <a:lnTo>
                    <a:pt x="215" y="476"/>
                  </a:lnTo>
                  <a:lnTo>
                    <a:pt x="238" y="476"/>
                  </a:lnTo>
                  <a:lnTo>
                    <a:pt x="238" y="476"/>
                  </a:lnTo>
                  <a:lnTo>
                    <a:pt x="250" y="476"/>
                  </a:lnTo>
                  <a:lnTo>
                    <a:pt x="250" y="476"/>
                  </a:lnTo>
                  <a:lnTo>
                    <a:pt x="274" y="476"/>
                  </a:lnTo>
                  <a:lnTo>
                    <a:pt x="274" y="476"/>
                  </a:lnTo>
                  <a:lnTo>
                    <a:pt x="285" y="476"/>
                  </a:lnTo>
                  <a:lnTo>
                    <a:pt x="285" y="476"/>
                  </a:lnTo>
                  <a:lnTo>
                    <a:pt x="309" y="476"/>
                  </a:lnTo>
                  <a:lnTo>
                    <a:pt x="309" y="476"/>
                  </a:lnTo>
                  <a:lnTo>
                    <a:pt x="321" y="476"/>
                  </a:lnTo>
                  <a:lnTo>
                    <a:pt x="321" y="476"/>
                  </a:lnTo>
                  <a:lnTo>
                    <a:pt x="344" y="476"/>
                  </a:lnTo>
                  <a:lnTo>
                    <a:pt x="344" y="476"/>
                  </a:lnTo>
                  <a:lnTo>
                    <a:pt x="356" y="476"/>
                  </a:lnTo>
                  <a:lnTo>
                    <a:pt x="356" y="476"/>
                  </a:lnTo>
                  <a:lnTo>
                    <a:pt x="380" y="476"/>
                  </a:lnTo>
                  <a:lnTo>
                    <a:pt x="380" y="476"/>
                  </a:lnTo>
                  <a:lnTo>
                    <a:pt x="391" y="476"/>
                  </a:lnTo>
                  <a:lnTo>
                    <a:pt x="391" y="476"/>
                  </a:lnTo>
                  <a:lnTo>
                    <a:pt x="441" y="476"/>
                  </a:lnTo>
                  <a:lnTo>
                    <a:pt x="441" y="476"/>
                  </a:lnTo>
                  <a:lnTo>
                    <a:pt x="453" y="476"/>
                  </a:lnTo>
                  <a:lnTo>
                    <a:pt x="453" y="476"/>
                  </a:lnTo>
                  <a:lnTo>
                    <a:pt x="476" y="476"/>
                  </a:lnTo>
                  <a:lnTo>
                    <a:pt x="476" y="476"/>
                  </a:lnTo>
                  <a:lnTo>
                    <a:pt x="488" y="476"/>
                  </a:lnTo>
                  <a:lnTo>
                    <a:pt x="488" y="476"/>
                  </a:lnTo>
                  <a:lnTo>
                    <a:pt x="512" y="476"/>
                  </a:lnTo>
                  <a:lnTo>
                    <a:pt x="512" y="476"/>
                  </a:lnTo>
                  <a:lnTo>
                    <a:pt x="523" y="476"/>
                  </a:lnTo>
                  <a:lnTo>
                    <a:pt x="523" y="476"/>
                  </a:lnTo>
                  <a:lnTo>
                    <a:pt x="547" y="476"/>
                  </a:lnTo>
                  <a:lnTo>
                    <a:pt x="547" y="476"/>
                  </a:lnTo>
                  <a:lnTo>
                    <a:pt x="559" y="476"/>
                  </a:lnTo>
                  <a:lnTo>
                    <a:pt x="559" y="476"/>
                  </a:lnTo>
                  <a:lnTo>
                    <a:pt x="582" y="476"/>
                  </a:lnTo>
                  <a:lnTo>
                    <a:pt x="582" y="476"/>
                  </a:lnTo>
                  <a:lnTo>
                    <a:pt x="594" y="476"/>
                  </a:lnTo>
                  <a:lnTo>
                    <a:pt x="594" y="476"/>
                  </a:lnTo>
                  <a:lnTo>
                    <a:pt x="618" y="476"/>
                  </a:lnTo>
                  <a:lnTo>
                    <a:pt x="618" y="476"/>
                  </a:lnTo>
                  <a:lnTo>
                    <a:pt x="629" y="476"/>
                  </a:lnTo>
                  <a:lnTo>
                    <a:pt x="629" y="476"/>
                  </a:lnTo>
                  <a:lnTo>
                    <a:pt x="653" y="476"/>
                  </a:lnTo>
                  <a:lnTo>
                    <a:pt x="653" y="476"/>
                  </a:lnTo>
                  <a:lnTo>
                    <a:pt x="667" y="476"/>
                  </a:lnTo>
                  <a:lnTo>
                    <a:pt x="667" y="476"/>
                  </a:lnTo>
                  <a:lnTo>
                    <a:pt x="714" y="476"/>
                  </a:lnTo>
                  <a:lnTo>
                    <a:pt x="714" y="476"/>
                  </a:lnTo>
                  <a:lnTo>
                    <a:pt x="726" y="476"/>
                  </a:lnTo>
                  <a:lnTo>
                    <a:pt x="726" y="476"/>
                  </a:lnTo>
                  <a:lnTo>
                    <a:pt x="750" y="476"/>
                  </a:lnTo>
                  <a:lnTo>
                    <a:pt x="750" y="476"/>
                  </a:lnTo>
                  <a:lnTo>
                    <a:pt x="761" y="476"/>
                  </a:lnTo>
                  <a:lnTo>
                    <a:pt x="761" y="476"/>
                  </a:lnTo>
                  <a:lnTo>
                    <a:pt x="785" y="476"/>
                  </a:lnTo>
                  <a:lnTo>
                    <a:pt x="785" y="476"/>
                  </a:lnTo>
                  <a:lnTo>
                    <a:pt x="797" y="476"/>
                  </a:lnTo>
                  <a:lnTo>
                    <a:pt x="797" y="476"/>
                  </a:lnTo>
                  <a:lnTo>
                    <a:pt x="820" y="476"/>
                  </a:lnTo>
                  <a:lnTo>
                    <a:pt x="820" y="476"/>
                  </a:lnTo>
                  <a:lnTo>
                    <a:pt x="832" y="476"/>
                  </a:lnTo>
                  <a:lnTo>
                    <a:pt x="832" y="476"/>
                  </a:lnTo>
                  <a:lnTo>
                    <a:pt x="856" y="476"/>
                  </a:lnTo>
                  <a:lnTo>
                    <a:pt x="856" y="476"/>
                  </a:lnTo>
                  <a:lnTo>
                    <a:pt x="867" y="476"/>
                  </a:lnTo>
                  <a:lnTo>
                    <a:pt x="867" y="476"/>
                  </a:lnTo>
                  <a:lnTo>
                    <a:pt x="891" y="476"/>
                  </a:lnTo>
                  <a:lnTo>
                    <a:pt x="891" y="476"/>
                  </a:lnTo>
                  <a:lnTo>
                    <a:pt x="903" y="476"/>
                  </a:lnTo>
                  <a:lnTo>
                    <a:pt x="903" y="476"/>
                  </a:lnTo>
                  <a:lnTo>
                    <a:pt x="929" y="476"/>
                  </a:lnTo>
                  <a:lnTo>
                    <a:pt x="929" y="476"/>
                  </a:lnTo>
                  <a:lnTo>
                    <a:pt x="940" y="476"/>
                  </a:lnTo>
                  <a:lnTo>
                    <a:pt x="940" y="476"/>
                  </a:lnTo>
                  <a:lnTo>
                    <a:pt x="988" y="476"/>
                  </a:lnTo>
                  <a:lnTo>
                    <a:pt x="988" y="476"/>
                  </a:lnTo>
                  <a:lnTo>
                    <a:pt x="999" y="476"/>
                  </a:lnTo>
                  <a:lnTo>
                    <a:pt x="999" y="476"/>
                  </a:lnTo>
                  <a:lnTo>
                    <a:pt x="1023" y="476"/>
                  </a:lnTo>
                  <a:lnTo>
                    <a:pt x="1023" y="476"/>
                  </a:lnTo>
                  <a:lnTo>
                    <a:pt x="1035" y="476"/>
                  </a:lnTo>
                  <a:lnTo>
                    <a:pt x="1035" y="476"/>
                  </a:lnTo>
                  <a:lnTo>
                    <a:pt x="1058" y="476"/>
                  </a:lnTo>
                  <a:lnTo>
                    <a:pt x="1058" y="476"/>
                  </a:lnTo>
                  <a:lnTo>
                    <a:pt x="1070" y="476"/>
                  </a:lnTo>
                  <a:lnTo>
                    <a:pt x="1070" y="476"/>
                  </a:lnTo>
                  <a:lnTo>
                    <a:pt x="1094" y="476"/>
                  </a:lnTo>
                  <a:lnTo>
                    <a:pt x="1094" y="476"/>
                  </a:lnTo>
                  <a:lnTo>
                    <a:pt x="1105" y="476"/>
                  </a:lnTo>
                  <a:lnTo>
                    <a:pt x="1105" y="476"/>
                  </a:lnTo>
                  <a:lnTo>
                    <a:pt x="1129" y="476"/>
                  </a:lnTo>
                  <a:lnTo>
                    <a:pt x="1129" y="476"/>
                  </a:lnTo>
                  <a:lnTo>
                    <a:pt x="1141" y="476"/>
                  </a:lnTo>
                  <a:lnTo>
                    <a:pt x="1141" y="476"/>
                  </a:lnTo>
                  <a:lnTo>
                    <a:pt x="1167" y="476"/>
                  </a:lnTo>
                  <a:lnTo>
                    <a:pt x="1167" y="476"/>
                  </a:lnTo>
                  <a:lnTo>
                    <a:pt x="1178" y="476"/>
                  </a:lnTo>
                  <a:lnTo>
                    <a:pt x="1178" y="476"/>
                  </a:lnTo>
                  <a:lnTo>
                    <a:pt x="1202" y="476"/>
                  </a:lnTo>
                  <a:lnTo>
                    <a:pt x="1202" y="476"/>
                  </a:lnTo>
                  <a:lnTo>
                    <a:pt x="1214" y="476"/>
                  </a:lnTo>
                  <a:lnTo>
                    <a:pt x="1214" y="476"/>
                  </a:lnTo>
                  <a:lnTo>
                    <a:pt x="1261" y="476"/>
                  </a:lnTo>
                  <a:lnTo>
                    <a:pt x="1261" y="476"/>
                  </a:lnTo>
                  <a:lnTo>
                    <a:pt x="1273" y="476"/>
                  </a:lnTo>
                  <a:lnTo>
                    <a:pt x="1273" y="476"/>
                  </a:lnTo>
                  <a:lnTo>
                    <a:pt x="1296" y="476"/>
                  </a:lnTo>
                  <a:lnTo>
                    <a:pt x="1296" y="476"/>
                  </a:lnTo>
                  <a:lnTo>
                    <a:pt x="1308" y="476"/>
                  </a:lnTo>
                  <a:lnTo>
                    <a:pt x="1308" y="476"/>
                  </a:lnTo>
                  <a:lnTo>
                    <a:pt x="1332" y="476"/>
                  </a:lnTo>
                  <a:lnTo>
                    <a:pt x="1332" y="476"/>
                  </a:lnTo>
                  <a:lnTo>
                    <a:pt x="1343" y="476"/>
                  </a:lnTo>
                  <a:lnTo>
                    <a:pt x="1343" y="476"/>
                  </a:lnTo>
                  <a:lnTo>
                    <a:pt x="1367" y="476"/>
                  </a:lnTo>
                  <a:lnTo>
                    <a:pt x="1367" y="476"/>
                  </a:lnTo>
                  <a:lnTo>
                    <a:pt x="1379" y="476"/>
                  </a:lnTo>
                  <a:lnTo>
                    <a:pt x="1379" y="476"/>
                  </a:lnTo>
                  <a:lnTo>
                    <a:pt x="1405" y="476"/>
                  </a:lnTo>
                  <a:lnTo>
                    <a:pt x="1405" y="476"/>
                  </a:lnTo>
                  <a:lnTo>
                    <a:pt x="1416" y="476"/>
                  </a:lnTo>
                  <a:lnTo>
                    <a:pt x="1416" y="476"/>
                  </a:lnTo>
                  <a:lnTo>
                    <a:pt x="1440" y="476"/>
                  </a:lnTo>
                  <a:lnTo>
                    <a:pt x="1440" y="476"/>
                  </a:lnTo>
                  <a:lnTo>
                    <a:pt x="1452" y="476"/>
                  </a:lnTo>
                  <a:lnTo>
                    <a:pt x="1452" y="476"/>
                  </a:lnTo>
                  <a:lnTo>
                    <a:pt x="1475" y="476"/>
                  </a:lnTo>
                  <a:lnTo>
                    <a:pt x="1475" y="476"/>
                  </a:lnTo>
                  <a:lnTo>
                    <a:pt x="1487" y="476"/>
                  </a:lnTo>
                  <a:lnTo>
                    <a:pt x="1487" y="476"/>
                  </a:lnTo>
                  <a:lnTo>
                    <a:pt x="1534" y="476"/>
                  </a:lnTo>
                  <a:lnTo>
                    <a:pt x="1534" y="476"/>
                  </a:lnTo>
                  <a:lnTo>
                    <a:pt x="1546" y="476"/>
                  </a:lnTo>
                  <a:lnTo>
                    <a:pt x="1546" y="476"/>
                  </a:lnTo>
                  <a:lnTo>
                    <a:pt x="1570" y="476"/>
                  </a:lnTo>
                  <a:lnTo>
                    <a:pt x="1570" y="476"/>
                  </a:lnTo>
                  <a:lnTo>
                    <a:pt x="1581" y="476"/>
                  </a:lnTo>
                  <a:lnTo>
                    <a:pt x="1581" y="476"/>
                  </a:lnTo>
                  <a:lnTo>
                    <a:pt x="1605" y="476"/>
                  </a:lnTo>
                  <a:lnTo>
                    <a:pt x="1605" y="476"/>
                  </a:lnTo>
                  <a:lnTo>
                    <a:pt x="1617" y="476"/>
                  </a:lnTo>
                  <a:lnTo>
                    <a:pt x="1617" y="476"/>
                  </a:lnTo>
                  <a:lnTo>
                    <a:pt x="1643" y="476"/>
                  </a:lnTo>
                  <a:lnTo>
                    <a:pt x="1643" y="476"/>
                  </a:lnTo>
                  <a:lnTo>
                    <a:pt x="1654" y="476"/>
                  </a:lnTo>
                  <a:lnTo>
                    <a:pt x="1654" y="476"/>
                  </a:lnTo>
                  <a:lnTo>
                    <a:pt x="1678" y="476"/>
                  </a:lnTo>
                  <a:lnTo>
                    <a:pt x="1678" y="476"/>
                  </a:lnTo>
                  <a:lnTo>
                    <a:pt x="1690" y="476"/>
                  </a:lnTo>
                  <a:lnTo>
                    <a:pt x="1690" y="476"/>
                  </a:lnTo>
                  <a:lnTo>
                    <a:pt x="1713" y="476"/>
                  </a:lnTo>
                  <a:lnTo>
                    <a:pt x="1713" y="476"/>
                  </a:lnTo>
                  <a:lnTo>
                    <a:pt x="1725" y="476"/>
                  </a:lnTo>
                  <a:lnTo>
                    <a:pt x="1725" y="476"/>
                  </a:lnTo>
                  <a:lnTo>
                    <a:pt x="1749" y="476"/>
                  </a:lnTo>
                  <a:lnTo>
                    <a:pt x="1749" y="476"/>
                  </a:lnTo>
                  <a:lnTo>
                    <a:pt x="1760" y="476"/>
                  </a:lnTo>
                  <a:lnTo>
                    <a:pt x="1760" y="476"/>
                  </a:lnTo>
                  <a:lnTo>
                    <a:pt x="1808" y="476"/>
                  </a:lnTo>
                  <a:lnTo>
                    <a:pt x="1808" y="476"/>
                  </a:lnTo>
                  <a:lnTo>
                    <a:pt x="1819" y="476"/>
                  </a:lnTo>
                  <a:lnTo>
                    <a:pt x="1819" y="476"/>
                  </a:lnTo>
                  <a:lnTo>
                    <a:pt x="1843" y="476"/>
                  </a:lnTo>
                  <a:lnTo>
                    <a:pt x="1843" y="476"/>
                  </a:lnTo>
                  <a:lnTo>
                    <a:pt x="1855" y="476"/>
                  </a:lnTo>
                  <a:lnTo>
                    <a:pt x="1855" y="476"/>
                  </a:lnTo>
                  <a:lnTo>
                    <a:pt x="1878" y="476"/>
                  </a:lnTo>
                  <a:lnTo>
                    <a:pt x="1878" y="476"/>
                  </a:lnTo>
                  <a:lnTo>
                    <a:pt x="1892" y="476"/>
                  </a:lnTo>
                  <a:lnTo>
                    <a:pt x="1892" y="476"/>
                  </a:lnTo>
                  <a:lnTo>
                    <a:pt x="1916" y="476"/>
                  </a:lnTo>
                  <a:lnTo>
                    <a:pt x="1916" y="476"/>
                  </a:lnTo>
                  <a:lnTo>
                    <a:pt x="1928" y="476"/>
                  </a:lnTo>
                  <a:lnTo>
                    <a:pt x="1928" y="476"/>
                  </a:lnTo>
                  <a:lnTo>
                    <a:pt x="1951" y="476"/>
                  </a:lnTo>
                  <a:lnTo>
                    <a:pt x="1951" y="476"/>
                  </a:lnTo>
                  <a:lnTo>
                    <a:pt x="1963" y="476"/>
                  </a:lnTo>
                  <a:lnTo>
                    <a:pt x="1963" y="476"/>
                  </a:lnTo>
                  <a:lnTo>
                    <a:pt x="1987" y="476"/>
                  </a:lnTo>
                  <a:lnTo>
                    <a:pt x="1987" y="476"/>
                  </a:lnTo>
                  <a:lnTo>
                    <a:pt x="1998" y="476"/>
                  </a:lnTo>
                  <a:lnTo>
                    <a:pt x="1998" y="476"/>
                  </a:lnTo>
                  <a:lnTo>
                    <a:pt x="2022" y="476"/>
                  </a:lnTo>
                  <a:lnTo>
                    <a:pt x="2022" y="476"/>
                  </a:lnTo>
                  <a:lnTo>
                    <a:pt x="2034" y="476"/>
                  </a:lnTo>
                  <a:lnTo>
                    <a:pt x="2034" y="476"/>
                  </a:lnTo>
                  <a:lnTo>
                    <a:pt x="2081" y="476"/>
                  </a:lnTo>
                  <a:lnTo>
                    <a:pt x="2081" y="476"/>
                  </a:lnTo>
                  <a:lnTo>
                    <a:pt x="2093" y="476"/>
                  </a:lnTo>
                  <a:lnTo>
                    <a:pt x="2093" y="476"/>
                  </a:lnTo>
                  <a:lnTo>
                    <a:pt x="2116" y="476"/>
                  </a:lnTo>
                  <a:lnTo>
                    <a:pt x="2116" y="476"/>
                  </a:lnTo>
                  <a:lnTo>
                    <a:pt x="2130" y="476"/>
                  </a:lnTo>
                  <a:lnTo>
                    <a:pt x="2130" y="476"/>
                  </a:lnTo>
                  <a:lnTo>
                    <a:pt x="2154" y="476"/>
                  </a:lnTo>
                  <a:lnTo>
                    <a:pt x="2154" y="476"/>
                  </a:lnTo>
                  <a:lnTo>
                    <a:pt x="2166" y="476"/>
                  </a:lnTo>
                  <a:lnTo>
                    <a:pt x="2166" y="476"/>
                  </a:lnTo>
                  <a:lnTo>
                    <a:pt x="2189" y="476"/>
                  </a:lnTo>
                  <a:lnTo>
                    <a:pt x="2189" y="476"/>
                  </a:lnTo>
                  <a:lnTo>
                    <a:pt x="2201" y="476"/>
                  </a:lnTo>
                  <a:lnTo>
                    <a:pt x="2201" y="476"/>
                  </a:lnTo>
                  <a:lnTo>
                    <a:pt x="2225" y="476"/>
                  </a:lnTo>
                  <a:lnTo>
                    <a:pt x="2225" y="476"/>
                  </a:lnTo>
                  <a:lnTo>
                    <a:pt x="2236" y="476"/>
                  </a:lnTo>
                  <a:lnTo>
                    <a:pt x="2236" y="476"/>
                  </a:lnTo>
                  <a:lnTo>
                    <a:pt x="2260" y="476"/>
                  </a:lnTo>
                  <a:lnTo>
                    <a:pt x="2260" y="476"/>
                  </a:lnTo>
                  <a:lnTo>
                    <a:pt x="2272" y="476"/>
                  </a:lnTo>
                  <a:lnTo>
                    <a:pt x="2272" y="476"/>
                  </a:lnTo>
                  <a:lnTo>
                    <a:pt x="2295" y="476"/>
                  </a:lnTo>
                  <a:lnTo>
                    <a:pt x="2295" y="476"/>
                  </a:lnTo>
                  <a:lnTo>
                    <a:pt x="2307" y="476"/>
                  </a:lnTo>
                  <a:lnTo>
                    <a:pt x="2307" y="476"/>
                  </a:lnTo>
                  <a:lnTo>
                    <a:pt x="2331" y="476"/>
                  </a:lnTo>
                  <a:lnTo>
                    <a:pt x="2331" y="22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9"/>
          <p:cNvGrpSpPr/>
          <p:nvPr userDrawn="1"/>
        </p:nvGrpSpPr>
        <p:grpSpPr>
          <a:xfrm>
            <a:off x="7328298" y="1180879"/>
            <a:ext cx="4071222" cy="4543018"/>
            <a:chOff x="1370180" y="1037677"/>
            <a:chExt cx="3449632" cy="3849394"/>
          </a:xfrm>
        </p:grpSpPr>
        <p:sp>
          <p:nvSpPr>
            <p:cNvPr id="14" name="Oval 13"/>
            <p:cNvSpPr/>
            <p:nvPr/>
          </p:nvSpPr>
          <p:spPr bwMode="gray">
            <a:xfrm>
              <a:off x="1370180" y="1037677"/>
              <a:ext cx="3100381" cy="3100375"/>
            </a:xfrm>
            <a:prstGeom prst="ellipse">
              <a:avLst/>
            </a:prstGeom>
            <a:solidFill>
              <a:schemeClr val="bg1">
                <a:alpha val="25000"/>
              </a:schemeClr>
            </a:solidFill>
            <a:ln w="6350">
              <a:noFill/>
              <a:headEnd/>
              <a:tailEnd/>
            </a:ln>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300" b="1" dirty="0">
                <a:solidFill>
                  <a:schemeClr val="tx1">
                    <a:lumMod val="65000"/>
                    <a:lumOff val="35000"/>
                  </a:schemeClr>
                </a:solidFill>
                <a:latin typeface="Calibri" charset="0"/>
                <a:ea typeface="ＭＳ Ｐゴシック" charset="-128"/>
              </a:endParaRPr>
            </a:p>
          </p:txBody>
        </p:sp>
        <p:sp>
          <p:nvSpPr>
            <p:cNvPr id="15" name="Oval 14"/>
            <p:cNvSpPr/>
            <p:nvPr/>
          </p:nvSpPr>
          <p:spPr>
            <a:xfrm>
              <a:off x="1642837" y="2144892"/>
              <a:ext cx="3176975" cy="2742179"/>
            </a:xfrm>
            <a:prstGeom prst="ellipse">
              <a:avLst/>
            </a:prstGeom>
            <a:gradFill flip="none" rotWithShape="1">
              <a:gsLst>
                <a:gs pos="0">
                  <a:schemeClr val="tx2">
                    <a:lumMod val="75000"/>
                  </a:schemeClr>
                </a:gs>
                <a:gs pos="100000">
                  <a:schemeClr val="tx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
          <p:nvSpPr>
            <p:cNvPr id="16" name="Oval 15"/>
            <p:cNvSpPr/>
            <p:nvPr/>
          </p:nvSpPr>
          <p:spPr bwMode="gray">
            <a:xfrm>
              <a:off x="1639225" y="1306724"/>
              <a:ext cx="2562297" cy="2562293"/>
            </a:xfrm>
            <a:prstGeom prst="ellipse">
              <a:avLst/>
            </a:prstGeom>
            <a:solidFill>
              <a:schemeClr val="bg1"/>
            </a:solidFill>
            <a:ln w="6350">
              <a:noFill/>
              <a:headEnd/>
              <a:tailEnd/>
            </a:ln>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300" b="1" dirty="0">
                <a:solidFill>
                  <a:schemeClr val="tx1">
                    <a:lumMod val="65000"/>
                    <a:lumOff val="35000"/>
                  </a:schemeClr>
                </a:solidFill>
                <a:latin typeface="Calibri" charset="0"/>
                <a:ea typeface="ＭＳ Ｐゴシック" charset="-128"/>
              </a:endParaRPr>
            </a:p>
          </p:txBody>
        </p:sp>
      </p:grpSp>
      <p:sp>
        <p:nvSpPr>
          <p:cNvPr id="24" name="Picture Placeholder 3"/>
          <p:cNvSpPr>
            <a:spLocks noGrp="1"/>
          </p:cNvSpPr>
          <p:nvPr>
            <p:ph type="pic" sz="quarter" idx="13"/>
          </p:nvPr>
        </p:nvSpPr>
        <p:spPr>
          <a:xfrm>
            <a:off x="7813464" y="1690214"/>
            <a:ext cx="2718896" cy="2718894"/>
          </a:xfrm>
          <a:prstGeom prst="ellipse">
            <a:avLst/>
          </a:prstGeom>
          <a:solidFill>
            <a:schemeClr val="bg1">
              <a:lumMod val="85000"/>
            </a:schemeClr>
          </a:solidFill>
          <a:ln>
            <a:noFill/>
          </a:ln>
        </p:spPr>
        <p:txBody>
          <a:bodyPr/>
          <a:lstStyle/>
          <a:p>
            <a:endParaRPr lang="en-US"/>
          </a:p>
        </p:txBody>
      </p:sp>
    </p:spTree>
    <p:extLst>
      <p:ext uri="{BB962C8B-B14F-4D97-AF65-F5344CB8AC3E}">
        <p14:creationId xmlns:p14="http://schemas.microsoft.com/office/powerpoint/2010/main" val="39317492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solidFill>
            <a:schemeClr val="bg1">
              <a:lumMod val="85000"/>
            </a:schemeClr>
          </a:solidFill>
        </p:spPr>
        <p:txBody>
          <a:bodyPr/>
          <a:lstStyle/>
          <a:p>
            <a:endParaRPr lang="en-US" dirty="0"/>
          </a:p>
        </p:txBody>
      </p:sp>
    </p:spTree>
    <p:extLst>
      <p:ext uri="{BB962C8B-B14F-4D97-AF65-F5344CB8AC3E}">
        <p14:creationId xmlns:p14="http://schemas.microsoft.com/office/powerpoint/2010/main" val="3678220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617663"/>
            <a:ext cx="6245225" cy="3902075"/>
          </a:xfrm>
          <a:solidFill>
            <a:schemeClr val="bg1">
              <a:lumMod val="85000"/>
            </a:schemeClr>
          </a:solidFill>
        </p:spPr>
        <p:txBody>
          <a:bodyPr/>
          <a:lstStyle/>
          <a:p>
            <a:endParaRPr lang="en-US" dirty="0"/>
          </a:p>
        </p:txBody>
      </p:sp>
      <p:sp>
        <p:nvSpPr>
          <p:cNvPr id="11" name="Date Placeholder 10"/>
          <p:cNvSpPr>
            <a:spLocks noGrp="1"/>
          </p:cNvSpPr>
          <p:nvPr>
            <p:ph type="dt" sz="half" idx="10"/>
          </p:nvPr>
        </p:nvSpPr>
        <p:spPr/>
        <p:txBody>
          <a:bodyPr/>
          <a:lstStyle/>
          <a:p>
            <a:fld id="{CF92851C-896A-4F6F-AF3A-66868FE93392}"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22824648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714536" y="2536012"/>
            <a:ext cx="4519169" cy="3130862"/>
          </a:xfrm>
          <a:solidFill>
            <a:schemeClr val="bg1">
              <a:lumMod val="85000"/>
            </a:schemeClr>
          </a:solidFill>
        </p:spPr>
        <p:txBody>
          <a:bodyPr/>
          <a:lstStyle/>
          <a:p>
            <a:endParaRPr lang="en-US" dirty="0"/>
          </a:p>
        </p:txBody>
      </p:sp>
      <p:sp>
        <p:nvSpPr>
          <p:cNvPr id="11" name="Date Placeholder 10"/>
          <p:cNvSpPr>
            <a:spLocks noGrp="1"/>
          </p:cNvSpPr>
          <p:nvPr>
            <p:ph type="dt" sz="half" idx="10"/>
          </p:nvPr>
        </p:nvSpPr>
        <p:spPr/>
        <p:txBody>
          <a:bodyPr/>
          <a:lstStyle/>
          <a:p>
            <a:fld id="{EC6F632A-BD13-4C67-AD6B-A25C20296976}"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3058434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75037" y="1868379"/>
            <a:ext cx="4640779" cy="2623293"/>
          </a:xfrm>
          <a:solidFill>
            <a:schemeClr val="bg1">
              <a:lumMod val="85000"/>
            </a:schemeClr>
          </a:solidFill>
        </p:spPr>
        <p:txBody>
          <a:bodyPr/>
          <a:lstStyle/>
          <a:p>
            <a:endParaRPr lang="en-US" dirty="0"/>
          </a:p>
        </p:txBody>
      </p:sp>
      <p:sp>
        <p:nvSpPr>
          <p:cNvPr id="11" name="Date Placeholder 10"/>
          <p:cNvSpPr>
            <a:spLocks noGrp="1"/>
          </p:cNvSpPr>
          <p:nvPr>
            <p:ph type="dt" sz="half" idx="10"/>
          </p:nvPr>
        </p:nvSpPr>
        <p:spPr/>
        <p:txBody>
          <a:bodyPr/>
          <a:lstStyle/>
          <a:p>
            <a:fld id="{2B957362-925C-4C45-A5F8-35B10EF66481}" type="datetime1">
              <a:rPr lang="en-US" smtClean="0"/>
              <a:t>1/25/19</a:t>
            </a:fld>
            <a:endParaRPr lang="en-US" dirty="0"/>
          </a:p>
        </p:txBody>
      </p:sp>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a:xfrm>
            <a:off x="11510963" y="6529322"/>
            <a:ext cx="415714" cy="301756"/>
          </a:xfrm>
        </p:spPr>
        <p:txBody>
          <a:bodyPr/>
          <a:lstStyle>
            <a:lvl1pPr algn="ctr">
              <a:defRPr sz="1000"/>
            </a:lvl1pPr>
          </a:lstStyle>
          <a:p>
            <a:fld id="{41DAFBFA-C652-4E4B-AC31-FEFC406FA02E}" type="slidenum">
              <a:rPr lang="en-US" smtClean="0"/>
              <a:pPr/>
              <a:t>‹#›</a:t>
            </a:fld>
            <a:endParaRPr lang="en-US" dirty="0"/>
          </a:p>
        </p:txBody>
      </p:sp>
    </p:spTree>
    <p:extLst>
      <p:ext uri="{BB962C8B-B14F-4D97-AF65-F5344CB8AC3E}">
        <p14:creationId xmlns:p14="http://schemas.microsoft.com/office/powerpoint/2010/main" val="10314998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1111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Light" panose="020B0403030403020204" pitchFamily="34" charset="0"/>
              </a:defRPr>
            </a:lvl1pPr>
          </a:lstStyle>
          <a:p>
            <a:fld id="{A32FA6A0-3DE4-4F2A-85E3-C9048A127849}" type="datetime1">
              <a:rPr lang="en-US" smtClean="0"/>
              <a:t>1/25/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Light" panose="020B0403030403020204" pitchFamily="34" charset="0"/>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Light" panose="020B0403030403020204" pitchFamily="34" charset="0"/>
              </a:defRPr>
            </a:lvl1pPr>
          </a:lstStyle>
          <a:p>
            <a:fld id="{41DAFBFA-C652-4E4B-AC31-FEFC406FA02E}" type="slidenum">
              <a:rPr lang="en-US" smtClean="0"/>
              <a:pPr/>
              <a:t>‹#›</a:t>
            </a:fld>
            <a:endParaRPr lang="en-US" dirty="0"/>
          </a:p>
        </p:txBody>
      </p:sp>
      <p:sp>
        <p:nvSpPr>
          <p:cNvPr id="13" name="Right Triangle 12"/>
          <p:cNvSpPr/>
          <p:nvPr userDrawn="1"/>
        </p:nvSpPr>
        <p:spPr>
          <a:xfrm rot="16200000" flipV="1">
            <a:off x="11607800" y="0"/>
            <a:ext cx="584200" cy="5842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ight Triangle 13"/>
          <p:cNvSpPr/>
          <p:nvPr userDrawn="1"/>
        </p:nvSpPr>
        <p:spPr>
          <a:xfrm rot="16200000" flipH="1">
            <a:off x="11607800" y="0"/>
            <a:ext cx="584200" cy="584200"/>
          </a:xfrm>
          <a:prstGeom prst="r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0" y="6492875"/>
            <a:ext cx="12192000" cy="36512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18" name="Rectangle 17"/>
          <p:cNvSpPr/>
          <p:nvPr/>
        </p:nvSpPr>
        <p:spPr>
          <a:xfrm>
            <a:off x="10254196" y="6544632"/>
            <a:ext cx="1247457" cy="261610"/>
          </a:xfrm>
          <a:prstGeom prst="rect">
            <a:avLst/>
          </a:prstGeom>
        </p:spPr>
        <p:txBody>
          <a:bodyPr wrap="none">
            <a:spAutoFit/>
          </a:bodyPr>
          <a:lstStyle/>
          <a:p>
            <a:pPr algn="r">
              <a:defRPr/>
            </a:pPr>
            <a:r>
              <a:rPr lang="en-US" sz="1100" dirty="0">
                <a:solidFill>
                  <a:schemeClr val="bg1"/>
                </a:solidFill>
                <a:latin typeface="Source Sans Pro Light" panose="020B0403030403020204" pitchFamily="34" charset="0"/>
                <a:ea typeface="Roboto" panose="02000000000000000000" pitchFamily="2" charset="0"/>
              </a:rPr>
              <a:t>www.comany.com</a:t>
            </a:r>
          </a:p>
        </p:txBody>
      </p:sp>
      <p:sp>
        <p:nvSpPr>
          <p:cNvPr id="19" name="Freeform 453"/>
          <p:cNvSpPr>
            <a:spLocks/>
          </p:cNvSpPr>
          <p:nvPr/>
        </p:nvSpPr>
        <p:spPr bwMode="auto">
          <a:xfrm>
            <a:off x="11497787" y="6619655"/>
            <a:ext cx="72243" cy="134554"/>
          </a:xfrm>
          <a:custGeom>
            <a:avLst/>
            <a:gdLst>
              <a:gd name="T0" fmla="*/ 307 w 317"/>
              <a:gd name="T1" fmla="*/ 596 h 596"/>
              <a:gd name="T2" fmla="*/ 303 w 317"/>
              <a:gd name="T3" fmla="*/ 595 h 596"/>
              <a:gd name="T4" fmla="*/ 300 w 317"/>
              <a:gd name="T5" fmla="*/ 593 h 596"/>
              <a:gd name="T6" fmla="*/ 3 w 317"/>
              <a:gd name="T7" fmla="*/ 304 h 596"/>
              <a:gd name="T8" fmla="*/ 0 w 317"/>
              <a:gd name="T9" fmla="*/ 301 h 596"/>
              <a:gd name="T10" fmla="*/ 0 w 317"/>
              <a:gd name="T11" fmla="*/ 298 h 596"/>
              <a:gd name="T12" fmla="*/ 0 w 317"/>
              <a:gd name="T13" fmla="*/ 293 h 596"/>
              <a:gd name="T14" fmla="*/ 3 w 317"/>
              <a:gd name="T15" fmla="*/ 290 h 596"/>
              <a:gd name="T16" fmla="*/ 300 w 317"/>
              <a:gd name="T17" fmla="*/ 2 h 596"/>
              <a:gd name="T18" fmla="*/ 303 w 317"/>
              <a:gd name="T19" fmla="*/ 0 h 596"/>
              <a:gd name="T20" fmla="*/ 307 w 317"/>
              <a:gd name="T21" fmla="*/ 0 h 596"/>
              <a:gd name="T22" fmla="*/ 311 w 317"/>
              <a:gd name="T23" fmla="*/ 1 h 596"/>
              <a:gd name="T24" fmla="*/ 314 w 317"/>
              <a:gd name="T25" fmla="*/ 3 h 596"/>
              <a:gd name="T26" fmla="*/ 316 w 317"/>
              <a:gd name="T27" fmla="*/ 6 h 596"/>
              <a:gd name="T28" fmla="*/ 317 w 317"/>
              <a:gd name="T29" fmla="*/ 9 h 596"/>
              <a:gd name="T30" fmla="*/ 316 w 317"/>
              <a:gd name="T31" fmla="*/ 14 h 596"/>
              <a:gd name="T32" fmla="*/ 314 w 317"/>
              <a:gd name="T33" fmla="*/ 17 h 596"/>
              <a:gd name="T34" fmla="*/ 23 w 317"/>
              <a:gd name="T35" fmla="*/ 298 h 596"/>
              <a:gd name="T36" fmla="*/ 314 w 317"/>
              <a:gd name="T37" fmla="*/ 578 h 596"/>
              <a:gd name="T38" fmla="*/ 316 w 317"/>
              <a:gd name="T39" fmla="*/ 582 h 596"/>
              <a:gd name="T40" fmla="*/ 317 w 317"/>
              <a:gd name="T41" fmla="*/ 585 h 596"/>
              <a:gd name="T42" fmla="*/ 316 w 317"/>
              <a:gd name="T43" fmla="*/ 589 h 596"/>
              <a:gd name="T44" fmla="*/ 314 w 317"/>
              <a:gd name="T45" fmla="*/ 593 h 596"/>
              <a:gd name="T46" fmla="*/ 311 w 317"/>
              <a:gd name="T47" fmla="*/ 595 h 596"/>
              <a:gd name="T48" fmla="*/ 307 w 317"/>
              <a:gd name="T49"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 h="596">
                <a:moveTo>
                  <a:pt x="307" y="596"/>
                </a:moveTo>
                <a:lnTo>
                  <a:pt x="303" y="595"/>
                </a:lnTo>
                <a:lnTo>
                  <a:pt x="300" y="593"/>
                </a:lnTo>
                <a:lnTo>
                  <a:pt x="3" y="304"/>
                </a:lnTo>
                <a:lnTo>
                  <a:pt x="0" y="301"/>
                </a:lnTo>
                <a:lnTo>
                  <a:pt x="0" y="298"/>
                </a:lnTo>
                <a:lnTo>
                  <a:pt x="0" y="293"/>
                </a:lnTo>
                <a:lnTo>
                  <a:pt x="3" y="290"/>
                </a:lnTo>
                <a:lnTo>
                  <a:pt x="300" y="2"/>
                </a:lnTo>
                <a:lnTo>
                  <a:pt x="303" y="0"/>
                </a:lnTo>
                <a:lnTo>
                  <a:pt x="307" y="0"/>
                </a:lnTo>
                <a:lnTo>
                  <a:pt x="311" y="1"/>
                </a:lnTo>
                <a:lnTo>
                  <a:pt x="314" y="3"/>
                </a:lnTo>
                <a:lnTo>
                  <a:pt x="316" y="6"/>
                </a:lnTo>
                <a:lnTo>
                  <a:pt x="317" y="9"/>
                </a:lnTo>
                <a:lnTo>
                  <a:pt x="316" y="14"/>
                </a:lnTo>
                <a:lnTo>
                  <a:pt x="314" y="17"/>
                </a:lnTo>
                <a:lnTo>
                  <a:pt x="23" y="298"/>
                </a:lnTo>
                <a:lnTo>
                  <a:pt x="314" y="578"/>
                </a:lnTo>
                <a:lnTo>
                  <a:pt x="316" y="582"/>
                </a:lnTo>
                <a:lnTo>
                  <a:pt x="317" y="585"/>
                </a:lnTo>
                <a:lnTo>
                  <a:pt x="316" y="589"/>
                </a:lnTo>
                <a:lnTo>
                  <a:pt x="314" y="593"/>
                </a:lnTo>
                <a:lnTo>
                  <a:pt x="311" y="595"/>
                </a:lnTo>
                <a:lnTo>
                  <a:pt x="307" y="596"/>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20" name="Freeform 454"/>
          <p:cNvSpPr>
            <a:spLocks/>
          </p:cNvSpPr>
          <p:nvPr/>
        </p:nvSpPr>
        <p:spPr bwMode="auto">
          <a:xfrm>
            <a:off x="11868991" y="6619655"/>
            <a:ext cx="71341" cy="134554"/>
          </a:xfrm>
          <a:custGeom>
            <a:avLst/>
            <a:gdLst>
              <a:gd name="T0" fmla="*/ 10 w 318"/>
              <a:gd name="T1" fmla="*/ 596 h 596"/>
              <a:gd name="T2" fmla="*/ 6 w 318"/>
              <a:gd name="T3" fmla="*/ 595 h 596"/>
              <a:gd name="T4" fmla="*/ 2 w 318"/>
              <a:gd name="T5" fmla="*/ 593 h 596"/>
              <a:gd name="T6" fmla="*/ 0 w 318"/>
              <a:gd name="T7" fmla="*/ 589 h 596"/>
              <a:gd name="T8" fmla="*/ 0 w 318"/>
              <a:gd name="T9" fmla="*/ 585 h 596"/>
              <a:gd name="T10" fmla="*/ 0 w 318"/>
              <a:gd name="T11" fmla="*/ 582 h 596"/>
              <a:gd name="T12" fmla="*/ 2 w 318"/>
              <a:gd name="T13" fmla="*/ 578 h 596"/>
              <a:gd name="T14" fmla="*/ 293 w 318"/>
              <a:gd name="T15" fmla="*/ 298 h 596"/>
              <a:gd name="T16" fmla="*/ 2 w 318"/>
              <a:gd name="T17" fmla="*/ 17 h 596"/>
              <a:gd name="T18" fmla="*/ 0 w 318"/>
              <a:gd name="T19" fmla="*/ 14 h 596"/>
              <a:gd name="T20" fmla="*/ 0 w 318"/>
              <a:gd name="T21" fmla="*/ 9 h 596"/>
              <a:gd name="T22" fmla="*/ 0 w 318"/>
              <a:gd name="T23" fmla="*/ 6 h 596"/>
              <a:gd name="T24" fmla="*/ 2 w 318"/>
              <a:gd name="T25" fmla="*/ 3 h 596"/>
              <a:gd name="T26" fmla="*/ 6 w 318"/>
              <a:gd name="T27" fmla="*/ 1 h 596"/>
              <a:gd name="T28" fmla="*/ 10 w 318"/>
              <a:gd name="T29" fmla="*/ 0 h 596"/>
              <a:gd name="T30" fmla="*/ 13 w 318"/>
              <a:gd name="T31" fmla="*/ 0 h 596"/>
              <a:gd name="T32" fmla="*/ 17 w 318"/>
              <a:gd name="T33" fmla="*/ 2 h 596"/>
              <a:gd name="T34" fmla="*/ 315 w 318"/>
              <a:gd name="T35" fmla="*/ 290 h 596"/>
              <a:gd name="T36" fmla="*/ 317 w 318"/>
              <a:gd name="T37" fmla="*/ 293 h 596"/>
              <a:gd name="T38" fmla="*/ 318 w 318"/>
              <a:gd name="T39" fmla="*/ 298 h 596"/>
              <a:gd name="T40" fmla="*/ 317 w 318"/>
              <a:gd name="T41" fmla="*/ 301 h 596"/>
              <a:gd name="T42" fmla="*/ 315 w 318"/>
              <a:gd name="T43" fmla="*/ 304 h 596"/>
              <a:gd name="T44" fmla="*/ 17 w 318"/>
              <a:gd name="T45" fmla="*/ 593 h 596"/>
              <a:gd name="T46" fmla="*/ 13 w 318"/>
              <a:gd name="T47" fmla="*/ 595 h 596"/>
              <a:gd name="T48" fmla="*/ 10 w 318"/>
              <a:gd name="T49"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8" h="596">
                <a:moveTo>
                  <a:pt x="10" y="596"/>
                </a:moveTo>
                <a:lnTo>
                  <a:pt x="6" y="595"/>
                </a:lnTo>
                <a:lnTo>
                  <a:pt x="2" y="593"/>
                </a:lnTo>
                <a:lnTo>
                  <a:pt x="0" y="589"/>
                </a:lnTo>
                <a:lnTo>
                  <a:pt x="0" y="585"/>
                </a:lnTo>
                <a:lnTo>
                  <a:pt x="0" y="582"/>
                </a:lnTo>
                <a:lnTo>
                  <a:pt x="2" y="578"/>
                </a:lnTo>
                <a:lnTo>
                  <a:pt x="293" y="298"/>
                </a:lnTo>
                <a:lnTo>
                  <a:pt x="2" y="17"/>
                </a:lnTo>
                <a:lnTo>
                  <a:pt x="0" y="14"/>
                </a:lnTo>
                <a:lnTo>
                  <a:pt x="0" y="9"/>
                </a:lnTo>
                <a:lnTo>
                  <a:pt x="0" y="6"/>
                </a:lnTo>
                <a:lnTo>
                  <a:pt x="2" y="3"/>
                </a:lnTo>
                <a:lnTo>
                  <a:pt x="6" y="1"/>
                </a:lnTo>
                <a:lnTo>
                  <a:pt x="10" y="0"/>
                </a:lnTo>
                <a:lnTo>
                  <a:pt x="13" y="0"/>
                </a:lnTo>
                <a:lnTo>
                  <a:pt x="17" y="2"/>
                </a:lnTo>
                <a:lnTo>
                  <a:pt x="315" y="290"/>
                </a:lnTo>
                <a:lnTo>
                  <a:pt x="317" y="293"/>
                </a:lnTo>
                <a:lnTo>
                  <a:pt x="318" y="298"/>
                </a:lnTo>
                <a:lnTo>
                  <a:pt x="317" y="301"/>
                </a:lnTo>
                <a:lnTo>
                  <a:pt x="315" y="304"/>
                </a:lnTo>
                <a:lnTo>
                  <a:pt x="17" y="593"/>
                </a:lnTo>
                <a:lnTo>
                  <a:pt x="13" y="595"/>
                </a:lnTo>
                <a:lnTo>
                  <a:pt x="10" y="596"/>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Tree>
    <p:extLst>
      <p:ext uri="{BB962C8B-B14F-4D97-AF65-F5344CB8AC3E}">
        <p14:creationId xmlns:p14="http://schemas.microsoft.com/office/powerpoint/2010/main" val="402919922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85" r:id="rId3"/>
    <p:sldLayoutId id="2147483705" r:id="rId4"/>
    <p:sldLayoutId id="2147483701" r:id="rId5"/>
    <p:sldLayoutId id="2147483688" r:id="rId6"/>
    <p:sldLayoutId id="2147483689" r:id="rId7"/>
    <p:sldLayoutId id="2147483698" r:id="rId8"/>
    <p:sldLayoutId id="2147483697" r:id="rId9"/>
    <p:sldLayoutId id="2147483690" r:id="rId10"/>
    <p:sldLayoutId id="2147483691" r:id="rId11"/>
    <p:sldLayoutId id="2147483700" r:id="rId12"/>
    <p:sldLayoutId id="2147483692" r:id="rId13"/>
    <p:sldLayoutId id="2147483695" r:id="rId14"/>
    <p:sldLayoutId id="2147483696" r:id="rId15"/>
    <p:sldLayoutId id="2147483707" r:id="rId16"/>
    <p:sldLayoutId id="2147483706" r:id="rId17"/>
    <p:sldLayoutId id="2147483694" r:id="rId18"/>
    <p:sldLayoutId id="2147483693" r:id="rId19"/>
    <p:sldLayoutId id="2147483704" r:id="rId20"/>
    <p:sldLayoutId id="2147483703" r:id="rId21"/>
    <p:sldLayoutId id="2147483702" r:id="rId22"/>
    <p:sldLayoutId id="2147483686" r:id="rId23"/>
    <p:sldLayoutId id="2147483680" r:id="rId24"/>
    <p:sldLayoutId id="2147483699" r:id="rId25"/>
    <p:sldLayoutId id="2147483708" r:id="rId26"/>
  </p:sldLayoutIdLst>
  <p:hf hdr="0" ftr="0" dt="0"/>
  <p:txStyles>
    <p:titleStyle>
      <a:lvl1pPr algn="l" defTabSz="914400" rtl="0" eaLnBrk="1" latinLnBrk="0" hangingPunct="1">
        <a:lnSpc>
          <a:spcPct val="90000"/>
        </a:lnSpc>
        <a:spcBef>
          <a:spcPct val="0"/>
        </a:spcBef>
        <a:buNone/>
        <a:defRPr sz="4400" kern="1200">
          <a:solidFill>
            <a:schemeClr val="bg1"/>
          </a:solidFill>
          <a:latin typeface="Roboto" panose="02000000000000000000" pitchFamily="2" charset="0"/>
          <a:ea typeface="Roboto" panose="02000000000000000000" pitchFamily="2" charset="0"/>
          <a:cs typeface="Open Sans Light" panose="020B03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j-lt"/>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j-lt"/>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j-lt"/>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j-lt"/>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j-lt"/>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4" name="Rectangle 23"/>
          <p:cNvSpPr/>
          <p:nvPr/>
        </p:nvSpPr>
        <p:spPr>
          <a:xfrm>
            <a:off x="3469733" y="2902601"/>
            <a:ext cx="7916398" cy="1060015"/>
          </a:xfrm>
          <a:prstGeom prst="rect">
            <a:avLst/>
          </a:prstGeom>
        </p:spPr>
        <p:txBody>
          <a:bodyPr vert="horz" lIns="91440" tIns="45720" rIns="91440" bIns="45720" rtlCol="0" anchor="ctr">
            <a:noAutofit/>
          </a:bodyPr>
          <a:lstStyle/>
          <a:p>
            <a:pPr>
              <a:spcBef>
                <a:spcPct val="0"/>
              </a:spcBef>
            </a:pPr>
            <a:r>
              <a:rPr lang="en-US" sz="4400" b="1" spc="-300" noProof="1">
                <a:solidFill>
                  <a:schemeClr val="bg1"/>
                </a:solidFill>
                <a:latin typeface="Roboto" panose="02000000000000000000" pitchFamily="2" charset="0"/>
                <a:ea typeface="Roboto" panose="02000000000000000000" pitchFamily="2" charset="0"/>
                <a:cs typeface="Open Sans" panose="020B0606030504020204" pitchFamily="34" charset="0"/>
              </a:rPr>
              <a:t>           RestauAnalytics</a:t>
            </a:r>
          </a:p>
        </p:txBody>
      </p:sp>
      <p:grpSp>
        <p:nvGrpSpPr>
          <p:cNvPr id="14" name="Group 13"/>
          <p:cNvGrpSpPr/>
          <p:nvPr/>
        </p:nvGrpSpPr>
        <p:grpSpPr>
          <a:xfrm>
            <a:off x="11607800" y="0"/>
            <a:ext cx="584200" cy="584200"/>
            <a:chOff x="11607800" y="0"/>
            <a:chExt cx="584200" cy="584200"/>
          </a:xfrm>
        </p:grpSpPr>
        <p:sp>
          <p:nvSpPr>
            <p:cNvPr id="43" name="Right Triangle 42"/>
            <p:cNvSpPr/>
            <p:nvPr/>
          </p:nvSpPr>
          <p:spPr>
            <a:xfrm rot="16200000" flipV="1">
              <a:off x="11607800" y="0"/>
              <a:ext cx="584200" cy="58420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ight Triangle 43"/>
            <p:cNvSpPr/>
            <p:nvPr/>
          </p:nvSpPr>
          <p:spPr>
            <a:xfrm rot="16200000" flipH="1">
              <a:off x="11607800" y="0"/>
              <a:ext cx="584200" cy="58420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p:cNvGrpSpPr/>
          <p:nvPr/>
        </p:nvGrpSpPr>
        <p:grpSpPr>
          <a:xfrm>
            <a:off x="2327243" y="1635529"/>
            <a:ext cx="990796" cy="2635199"/>
            <a:chOff x="2327243" y="1419385"/>
            <a:chExt cx="990796" cy="2635199"/>
          </a:xfrm>
        </p:grpSpPr>
        <p:sp>
          <p:nvSpPr>
            <p:cNvPr id="57" name="Freeform 1339"/>
            <p:cNvSpPr>
              <a:spLocks/>
            </p:cNvSpPr>
            <p:nvPr/>
          </p:nvSpPr>
          <p:spPr bwMode="auto">
            <a:xfrm>
              <a:off x="2398852" y="2415091"/>
              <a:ext cx="493733" cy="1639493"/>
            </a:xfrm>
            <a:custGeom>
              <a:avLst/>
              <a:gdLst>
                <a:gd name="T0" fmla="*/ 391 w 391"/>
                <a:gd name="T1" fmla="*/ 1284 h 1306"/>
                <a:gd name="T2" fmla="*/ 391 w 391"/>
                <a:gd name="T3" fmla="*/ 406 h 1306"/>
                <a:gd name="T4" fmla="*/ 37 w 391"/>
                <a:gd name="T5" fmla="*/ 7 h 1306"/>
                <a:gd name="T6" fmla="*/ 37 w 391"/>
                <a:gd name="T7" fmla="*/ 7 h 1306"/>
                <a:gd name="T8" fmla="*/ 31 w 391"/>
                <a:gd name="T9" fmla="*/ 3 h 1306"/>
                <a:gd name="T10" fmla="*/ 22 w 391"/>
                <a:gd name="T11" fmla="*/ 0 h 1306"/>
                <a:gd name="T12" fmla="*/ 15 w 391"/>
                <a:gd name="T13" fmla="*/ 1 h 1306"/>
                <a:gd name="T14" fmla="*/ 11 w 391"/>
                <a:gd name="T15" fmla="*/ 3 h 1306"/>
                <a:gd name="T16" fmla="*/ 6 w 391"/>
                <a:gd name="T17" fmla="*/ 5 h 1306"/>
                <a:gd name="T18" fmla="*/ 6 w 391"/>
                <a:gd name="T19" fmla="*/ 5 h 1306"/>
                <a:gd name="T20" fmla="*/ 2 w 391"/>
                <a:gd name="T21" fmla="*/ 11 h 1306"/>
                <a:gd name="T22" fmla="*/ 0 w 391"/>
                <a:gd name="T23" fmla="*/ 20 h 1306"/>
                <a:gd name="T24" fmla="*/ 0 w 391"/>
                <a:gd name="T25" fmla="*/ 27 h 1306"/>
                <a:gd name="T26" fmla="*/ 5 w 391"/>
                <a:gd name="T27" fmla="*/ 36 h 1306"/>
                <a:gd name="T28" fmla="*/ 347 w 391"/>
                <a:gd name="T29" fmla="*/ 422 h 1306"/>
                <a:gd name="T30" fmla="*/ 347 w 391"/>
                <a:gd name="T31" fmla="*/ 1284 h 1306"/>
                <a:gd name="T32" fmla="*/ 347 w 391"/>
                <a:gd name="T33" fmla="*/ 1284 h 1306"/>
                <a:gd name="T34" fmla="*/ 350 w 391"/>
                <a:gd name="T35" fmla="*/ 1292 h 1306"/>
                <a:gd name="T36" fmla="*/ 354 w 391"/>
                <a:gd name="T37" fmla="*/ 1300 h 1306"/>
                <a:gd name="T38" fmla="*/ 360 w 391"/>
                <a:gd name="T39" fmla="*/ 1304 h 1306"/>
                <a:gd name="T40" fmla="*/ 369 w 391"/>
                <a:gd name="T41" fmla="*/ 1306 h 1306"/>
                <a:gd name="T42" fmla="*/ 369 w 391"/>
                <a:gd name="T43" fmla="*/ 1306 h 1306"/>
                <a:gd name="T44" fmla="*/ 378 w 391"/>
                <a:gd name="T45" fmla="*/ 1304 h 1306"/>
                <a:gd name="T46" fmla="*/ 384 w 391"/>
                <a:gd name="T47" fmla="*/ 1300 h 1306"/>
                <a:gd name="T48" fmla="*/ 389 w 391"/>
                <a:gd name="T49" fmla="*/ 1292 h 1306"/>
                <a:gd name="T50" fmla="*/ 391 w 391"/>
                <a:gd name="T51" fmla="*/ 1284 h 1306"/>
                <a:gd name="T52" fmla="*/ 391 w 391"/>
                <a:gd name="T53" fmla="*/ 128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1" h="1306">
                  <a:moveTo>
                    <a:pt x="391" y="1284"/>
                  </a:moveTo>
                  <a:lnTo>
                    <a:pt x="391" y="406"/>
                  </a:lnTo>
                  <a:lnTo>
                    <a:pt x="37" y="7"/>
                  </a:lnTo>
                  <a:lnTo>
                    <a:pt x="37" y="7"/>
                  </a:lnTo>
                  <a:lnTo>
                    <a:pt x="31" y="3"/>
                  </a:lnTo>
                  <a:lnTo>
                    <a:pt x="22" y="0"/>
                  </a:lnTo>
                  <a:lnTo>
                    <a:pt x="15" y="1"/>
                  </a:lnTo>
                  <a:lnTo>
                    <a:pt x="11" y="3"/>
                  </a:lnTo>
                  <a:lnTo>
                    <a:pt x="6" y="5"/>
                  </a:lnTo>
                  <a:lnTo>
                    <a:pt x="6" y="5"/>
                  </a:lnTo>
                  <a:lnTo>
                    <a:pt x="2" y="11"/>
                  </a:lnTo>
                  <a:lnTo>
                    <a:pt x="0" y="20"/>
                  </a:lnTo>
                  <a:lnTo>
                    <a:pt x="0" y="27"/>
                  </a:lnTo>
                  <a:lnTo>
                    <a:pt x="5" y="36"/>
                  </a:lnTo>
                  <a:lnTo>
                    <a:pt x="347" y="422"/>
                  </a:lnTo>
                  <a:lnTo>
                    <a:pt x="347" y="1284"/>
                  </a:lnTo>
                  <a:lnTo>
                    <a:pt x="347" y="1284"/>
                  </a:lnTo>
                  <a:lnTo>
                    <a:pt x="350" y="1292"/>
                  </a:lnTo>
                  <a:lnTo>
                    <a:pt x="354" y="1300"/>
                  </a:lnTo>
                  <a:lnTo>
                    <a:pt x="360" y="1304"/>
                  </a:lnTo>
                  <a:lnTo>
                    <a:pt x="369" y="1306"/>
                  </a:lnTo>
                  <a:lnTo>
                    <a:pt x="369" y="1306"/>
                  </a:lnTo>
                  <a:lnTo>
                    <a:pt x="378" y="1304"/>
                  </a:lnTo>
                  <a:lnTo>
                    <a:pt x="384" y="1300"/>
                  </a:lnTo>
                  <a:lnTo>
                    <a:pt x="389" y="1292"/>
                  </a:lnTo>
                  <a:lnTo>
                    <a:pt x="391" y="1284"/>
                  </a:lnTo>
                  <a:lnTo>
                    <a:pt x="391" y="128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8" name="Freeform 1353"/>
            <p:cNvSpPr>
              <a:spLocks/>
            </p:cNvSpPr>
            <p:nvPr/>
          </p:nvSpPr>
          <p:spPr bwMode="auto">
            <a:xfrm>
              <a:off x="2640065" y="2957820"/>
              <a:ext cx="116839" cy="267597"/>
            </a:xfrm>
            <a:custGeom>
              <a:avLst/>
              <a:gdLst>
                <a:gd name="T0" fmla="*/ 93 w 94"/>
                <a:gd name="T1" fmla="*/ 124 h 211"/>
                <a:gd name="T2" fmla="*/ 93 w 94"/>
                <a:gd name="T3" fmla="*/ 124 h 211"/>
                <a:gd name="T4" fmla="*/ 94 w 94"/>
                <a:gd name="T5" fmla="*/ 144 h 211"/>
                <a:gd name="T6" fmla="*/ 94 w 94"/>
                <a:gd name="T7" fmla="*/ 162 h 211"/>
                <a:gd name="T8" fmla="*/ 93 w 94"/>
                <a:gd name="T9" fmla="*/ 176 h 211"/>
                <a:gd name="T10" fmla="*/ 89 w 94"/>
                <a:gd name="T11" fmla="*/ 188 h 211"/>
                <a:gd name="T12" fmla="*/ 84 w 94"/>
                <a:gd name="T13" fmla="*/ 197 h 211"/>
                <a:gd name="T14" fmla="*/ 77 w 94"/>
                <a:gd name="T15" fmla="*/ 204 h 211"/>
                <a:gd name="T16" fmla="*/ 67 w 94"/>
                <a:gd name="T17" fmla="*/ 208 h 211"/>
                <a:gd name="T18" fmla="*/ 55 w 94"/>
                <a:gd name="T19" fmla="*/ 211 h 211"/>
                <a:gd name="T20" fmla="*/ 55 w 94"/>
                <a:gd name="T21" fmla="*/ 211 h 211"/>
                <a:gd name="T22" fmla="*/ 43 w 94"/>
                <a:gd name="T23" fmla="*/ 211 h 211"/>
                <a:gd name="T24" fmla="*/ 33 w 94"/>
                <a:gd name="T25" fmla="*/ 208 h 211"/>
                <a:gd name="T26" fmla="*/ 25 w 94"/>
                <a:gd name="T27" fmla="*/ 204 h 211"/>
                <a:gd name="T28" fmla="*/ 17 w 94"/>
                <a:gd name="T29" fmla="*/ 195 h 211"/>
                <a:gd name="T30" fmla="*/ 11 w 94"/>
                <a:gd name="T31" fmla="*/ 185 h 211"/>
                <a:gd name="T32" fmla="*/ 7 w 94"/>
                <a:gd name="T33" fmla="*/ 172 h 211"/>
                <a:gd name="T34" fmla="*/ 4 w 94"/>
                <a:gd name="T35" fmla="*/ 154 h 211"/>
                <a:gd name="T36" fmla="*/ 1 w 94"/>
                <a:gd name="T37" fmla="*/ 136 h 211"/>
                <a:gd name="T38" fmla="*/ 1 w 94"/>
                <a:gd name="T39" fmla="*/ 136 h 211"/>
                <a:gd name="T40" fmla="*/ 0 w 94"/>
                <a:gd name="T41" fmla="*/ 124 h 211"/>
                <a:gd name="T42" fmla="*/ 1 w 94"/>
                <a:gd name="T43" fmla="*/ 112 h 211"/>
                <a:gd name="T44" fmla="*/ 4 w 94"/>
                <a:gd name="T45" fmla="*/ 89 h 211"/>
                <a:gd name="T46" fmla="*/ 8 w 94"/>
                <a:gd name="T47" fmla="*/ 67 h 211"/>
                <a:gd name="T48" fmla="*/ 16 w 94"/>
                <a:gd name="T49" fmla="*/ 45 h 211"/>
                <a:gd name="T50" fmla="*/ 23 w 94"/>
                <a:gd name="T51" fmla="*/ 28 h 211"/>
                <a:gd name="T52" fmla="*/ 29 w 94"/>
                <a:gd name="T53" fmla="*/ 13 h 211"/>
                <a:gd name="T54" fmla="*/ 35 w 94"/>
                <a:gd name="T55" fmla="*/ 0 h 211"/>
                <a:gd name="T56" fmla="*/ 35 w 94"/>
                <a:gd name="T57" fmla="*/ 0 h 211"/>
                <a:gd name="T58" fmla="*/ 43 w 94"/>
                <a:gd name="T59" fmla="*/ 12 h 211"/>
                <a:gd name="T60" fmla="*/ 52 w 94"/>
                <a:gd name="T61" fmla="*/ 25 h 211"/>
                <a:gd name="T62" fmla="*/ 62 w 94"/>
                <a:gd name="T63" fmla="*/ 41 h 211"/>
                <a:gd name="T64" fmla="*/ 73 w 94"/>
                <a:gd name="T65" fmla="*/ 60 h 211"/>
                <a:gd name="T66" fmla="*/ 81 w 94"/>
                <a:gd name="T67" fmla="*/ 80 h 211"/>
                <a:gd name="T68" fmla="*/ 89 w 94"/>
                <a:gd name="T69" fmla="*/ 102 h 211"/>
                <a:gd name="T70" fmla="*/ 92 w 94"/>
                <a:gd name="T71" fmla="*/ 114 h 211"/>
                <a:gd name="T72" fmla="*/ 93 w 94"/>
                <a:gd name="T73" fmla="*/ 12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211">
                  <a:moveTo>
                    <a:pt x="93" y="124"/>
                  </a:moveTo>
                  <a:lnTo>
                    <a:pt x="93" y="124"/>
                  </a:lnTo>
                  <a:lnTo>
                    <a:pt x="94" y="144"/>
                  </a:lnTo>
                  <a:lnTo>
                    <a:pt x="94" y="162"/>
                  </a:lnTo>
                  <a:lnTo>
                    <a:pt x="93" y="176"/>
                  </a:lnTo>
                  <a:lnTo>
                    <a:pt x="89" y="188"/>
                  </a:lnTo>
                  <a:lnTo>
                    <a:pt x="84" y="197"/>
                  </a:lnTo>
                  <a:lnTo>
                    <a:pt x="77" y="204"/>
                  </a:lnTo>
                  <a:lnTo>
                    <a:pt x="67" y="208"/>
                  </a:lnTo>
                  <a:lnTo>
                    <a:pt x="55" y="211"/>
                  </a:lnTo>
                  <a:lnTo>
                    <a:pt x="55" y="211"/>
                  </a:lnTo>
                  <a:lnTo>
                    <a:pt x="43" y="211"/>
                  </a:lnTo>
                  <a:lnTo>
                    <a:pt x="33" y="208"/>
                  </a:lnTo>
                  <a:lnTo>
                    <a:pt x="25" y="204"/>
                  </a:lnTo>
                  <a:lnTo>
                    <a:pt x="17" y="195"/>
                  </a:lnTo>
                  <a:lnTo>
                    <a:pt x="11" y="185"/>
                  </a:lnTo>
                  <a:lnTo>
                    <a:pt x="7" y="172"/>
                  </a:lnTo>
                  <a:lnTo>
                    <a:pt x="4" y="154"/>
                  </a:lnTo>
                  <a:lnTo>
                    <a:pt x="1" y="136"/>
                  </a:lnTo>
                  <a:lnTo>
                    <a:pt x="1" y="136"/>
                  </a:lnTo>
                  <a:lnTo>
                    <a:pt x="0" y="124"/>
                  </a:lnTo>
                  <a:lnTo>
                    <a:pt x="1" y="112"/>
                  </a:lnTo>
                  <a:lnTo>
                    <a:pt x="4" y="89"/>
                  </a:lnTo>
                  <a:lnTo>
                    <a:pt x="8" y="67"/>
                  </a:lnTo>
                  <a:lnTo>
                    <a:pt x="16" y="45"/>
                  </a:lnTo>
                  <a:lnTo>
                    <a:pt x="23" y="28"/>
                  </a:lnTo>
                  <a:lnTo>
                    <a:pt x="29" y="13"/>
                  </a:lnTo>
                  <a:lnTo>
                    <a:pt x="35" y="0"/>
                  </a:lnTo>
                  <a:lnTo>
                    <a:pt x="35" y="0"/>
                  </a:lnTo>
                  <a:lnTo>
                    <a:pt x="43" y="12"/>
                  </a:lnTo>
                  <a:lnTo>
                    <a:pt x="52" y="25"/>
                  </a:lnTo>
                  <a:lnTo>
                    <a:pt x="62" y="41"/>
                  </a:lnTo>
                  <a:lnTo>
                    <a:pt x="73" y="60"/>
                  </a:lnTo>
                  <a:lnTo>
                    <a:pt x="81" y="80"/>
                  </a:lnTo>
                  <a:lnTo>
                    <a:pt x="89" y="102"/>
                  </a:lnTo>
                  <a:lnTo>
                    <a:pt x="92" y="114"/>
                  </a:lnTo>
                  <a:lnTo>
                    <a:pt x="93" y="12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9" name="Freeform 1354"/>
            <p:cNvSpPr>
              <a:spLocks/>
            </p:cNvSpPr>
            <p:nvPr/>
          </p:nvSpPr>
          <p:spPr bwMode="auto">
            <a:xfrm>
              <a:off x="2640065" y="2957820"/>
              <a:ext cx="116839" cy="267597"/>
            </a:xfrm>
            <a:custGeom>
              <a:avLst/>
              <a:gdLst>
                <a:gd name="T0" fmla="*/ 93 w 94"/>
                <a:gd name="T1" fmla="*/ 124 h 211"/>
                <a:gd name="T2" fmla="*/ 93 w 94"/>
                <a:gd name="T3" fmla="*/ 124 h 211"/>
                <a:gd name="T4" fmla="*/ 94 w 94"/>
                <a:gd name="T5" fmla="*/ 144 h 211"/>
                <a:gd name="T6" fmla="*/ 94 w 94"/>
                <a:gd name="T7" fmla="*/ 162 h 211"/>
                <a:gd name="T8" fmla="*/ 93 w 94"/>
                <a:gd name="T9" fmla="*/ 176 h 211"/>
                <a:gd name="T10" fmla="*/ 89 w 94"/>
                <a:gd name="T11" fmla="*/ 188 h 211"/>
                <a:gd name="T12" fmla="*/ 84 w 94"/>
                <a:gd name="T13" fmla="*/ 197 h 211"/>
                <a:gd name="T14" fmla="*/ 77 w 94"/>
                <a:gd name="T15" fmla="*/ 204 h 211"/>
                <a:gd name="T16" fmla="*/ 67 w 94"/>
                <a:gd name="T17" fmla="*/ 208 h 211"/>
                <a:gd name="T18" fmla="*/ 55 w 94"/>
                <a:gd name="T19" fmla="*/ 211 h 211"/>
                <a:gd name="T20" fmla="*/ 55 w 94"/>
                <a:gd name="T21" fmla="*/ 211 h 211"/>
                <a:gd name="T22" fmla="*/ 43 w 94"/>
                <a:gd name="T23" fmla="*/ 211 h 211"/>
                <a:gd name="T24" fmla="*/ 33 w 94"/>
                <a:gd name="T25" fmla="*/ 208 h 211"/>
                <a:gd name="T26" fmla="*/ 25 w 94"/>
                <a:gd name="T27" fmla="*/ 204 h 211"/>
                <a:gd name="T28" fmla="*/ 17 w 94"/>
                <a:gd name="T29" fmla="*/ 195 h 211"/>
                <a:gd name="T30" fmla="*/ 11 w 94"/>
                <a:gd name="T31" fmla="*/ 185 h 211"/>
                <a:gd name="T32" fmla="*/ 7 w 94"/>
                <a:gd name="T33" fmla="*/ 172 h 211"/>
                <a:gd name="T34" fmla="*/ 4 w 94"/>
                <a:gd name="T35" fmla="*/ 154 h 211"/>
                <a:gd name="T36" fmla="*/ 1 w 94"/>
                <a:gd name="T37" fmla="*/ 136 h 211"/>
                <a:gd name="T38" fmla="*/ 1 w 94"/>
                <a:gd name="T39" fmla="*/ 136 h 211"/>
                <a:gd name="T40" fmla="*/ 0 w 94"/>
                <a:gd name="T41" fmla="*/ 124 h 211"/>
                <a:gd name="T42" fmla="*/ 1 w 94"/>
                <a:gd name="T43" fmla="*/ 112 h 211"/>
                <a:gd name="T44" fmla="*/ 4 w 94"/>
                <a:gd name="T45" fmla="*/ 89 h 211"/>
                <a:gd name="T46" fmla="*/ 8 w 94"/>
                <a:gd name="T47" fmla="*/ 67 h 211"/>
                <a:gd name="T48" fmla="*/ 16 w 94"/>
                <a:gd name="T49" fmla="*/ 45 h 211"/>
                <a:gd name="T50" fmla="*/ 23 w 94"/>
                <a:gd name="T51" fmla="*/ 28 h 211"/>
                <a:gd name="T52" fmla="*/ 29 w 94"/>
                <a:gd name="T53" fmla="*/ 13 h 211"/>
                <a:gd name="T54" fmla="*/ 35 w 94"/>
                <a:gd name="T55" fmla="*/ 0 h 211"/>
                <a:gd name="T56" fmla="*/ 35 w 94"/>
                <a:gd name="T57" fmla="*/ 0 h 211"/>
                <a:gd name="T58" fmla="*/ 43 w 94"/>
                <a:gd name="T59" fmla="*/ 12 h 211"/>
                <a:gd name="T60" fmla="*/ 52 w 94"/>
                <a:gd name="T61" fmla="*/ 25 h 211"/>
                <a:gd name="T62" fmla="*/ 62 w 94"/>
                <a:gd name="T63" fmla="*/ 41 h 211"/>
                <a:gd name="T64" fmla="*/ 73 w 94"/>
                <a:gd name="T65" fmla="*/ 60 h 211"/>
                <a:gd name="T66" fmla="*/ 81 w 94"/>
                <a:gd name="T67" fmla="*/ 80 h 211"/>
                <a:gd name="T68" fmla="*/ 89 w 94"/>
                <a:gd name="T69" fmla="*/ 102 h 211"/>
                <a:gd name="T70" fmla="*/ 92 w 94"/>
                <a:gd name="T71" fmla="*/ 114 h 211"/>
                <a:gd name="T72" fmla="*/ 93 w 94"/>
                <a:gd name="T73" fmla="*/ 12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211">
                  <a:moveTo>
                    <a:pt x="93" y="124"/>
                  </a:moveTo>
                  <a:lnTo>
                    <a:pt x="93" y="124"/>
                  </a:lnTo>
                  <a:lnTo>
                    <a:pt x="94" y="144"/>
                  </a:lnTo>
                  <a:lnTo>
                    <a:pt x="94" y="162"/>
                  </a:lnTo>
                  <a:lnTo>
                    <a:pt x="93" y="176"/>
                  </a:lnTo>
                  <a:lnTo>
                    <a:pt x="89" y="188"/>
                  </a:lnTo>
                  <a:lnTo>
                    <a:pt x="84" y="197"/>
                  </a:lnTo>
                  <a:lnTo>
                    <a:pt x="77" y="204"/>
                  </a:lnTo>
                  <a:lnTo>
                    <a:pt x="67" y="208"/>
                  </a:lnTo>
                  <a:lnTo>
                    <a:pt x="55" y="211"/>
                  </a:lnTo>
                  <a:lnTo>
                    <a:pt x="55" y="211"/>
                  </a:lnTo>
                  <a:lnTo>
                    <a:pt x="43" y="211"/>
                  </a:lnTo>
                  <a:lnTo>
                    <a:pt x="33" y="208"/>
                  </a:lnTo>
                  <a:lnTo>
                    <a:pt x="25" y="204"/>
                  </a:lnTo>
                  <a:lnTo>
                    <a:pt x="17" y="195"/>
                  </a:lnTo>
                  <a:lnTo>
                    <a:pt x="11" y="185"/>
                  </a:lnTo>
                  <a:lnTo>
                    <a:pt x="7" y="172"/>
                  </a:lnTo>
                  <a:lnTo>
                    <a:pt x="4" y="154"/>
                  </a:lnTo>
                  <a:lnTo>
                    <a:pt x="1" y="136"/>
                  </a:lnTo>
                  <a:lnTo>
                    <a:pt x="1" y="136"/>
                  </a:lnTo>
                  <a:lnTo>
                    <a:pt x="0" y="124"/>
                  </a:lnTo>
                  <a:lnTo>
                    <a:pt x="1" y="112"/>
                  </a:lnTo>
                  <a:lnTo>
                    <a:pt x="4" y="89"/>
                  </a:lnTo>
                  <a:lnTo>
                    <a:pt x="8" y="67"/>
                  </a:lnTo>
                  <a:lnTo>
                    <a:pt x="16" y="45"/>
                  </a:lnTo>
                  <a:lnTo>
                    <a:pt x="23" y="28"/>
                  </a:lnTo>
                  <a:lnTo>
                    <a:pt x="29" y="13"/>
                  </a:lnTo>
                  <a:lnTo>
                    <a:pt x="35" y="0"/>
                  </a:lnTo>
                  <a:lnTo>
                    <a:pt x="35" y="0"/>
                  </a:lnTo>
                  <a:lnTo>
                    <a:pt x="43" y="12"/>
                  </a:lnTo>
                  <a:lnTo>
                    <a:pt x="52" y="25"/>
                  </a:lnTo>
                  <a:lnTo>
                    <a:pt x="62" y="41"/>
                  </a:lnTo>
                  <a:lnTo>
                    <a:pt x="73" y="60"/>
                  </a:lnTo>
                  <a:lnTo>
                    <a:pt x="81" y="80"/>
                  </a:lnTo>
                  <a:lnTo>
                    <a:pt x="89" y="102"/>
                  </a:lnTo>
                  <a:lnTo>
                    <a:pt x="92" y="114"/>
                  </a:lnTo>
                  <a:lnTo>
                    <a:pt x="93" y="124"/>
                  </a:ln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0" name="Freeform 1355"/>
            <p:cNvSpPr>
              <a:spLocks/>
            </p:cNvSpPr>
            <p:nvPr/>
          </p:nvSpPr>
          <p:spPr bwMode="auto">
            <a:xfrm>
              <a:off x="2640065" y="2957820"/>
              <a:ext cx="67842" cy="267597"/>
            </a:xfrm>
            <a:custGeom>
              <a:avLst/>
              <a:gdLst>
                <a:gd name="T0" fmla="*/ 34 w 54"/>
                <a:gd name="T1" fmla="*/ 0 h 211"/>
                <a:gd name="T2" fmla="*/ 54 w 54"/>
                <a:gd name="T3" fmla="*/ 211 h 211"/>
                <a:gd name="T4" fmla="*/ 54 w 54"/>
                <a:gd name="T5" fmla="*/ 211 h 211"/>
                <a:gd name="T6" fmla="*/ 51 w 54"/>
                <a:gd name="T7" fmla="*/ 211 h 211"/>
                <a:gd name="T8" fmla="*/ 42 w 54"/>
                <a:gd name="T9" fmla="*/ 211 h 211"/>
                <a:gd name="T10" fmla="*/ 37 w 54"/>
                <a:gd name="T11" fmla="*/ 210 h 211"/>
                <a:gd name="T12" fmla="*/ 31 w 54"/>
                <a:gd name="T13" fmla="*/ 208 h 211"/>
                <a:gd name="T14" fmla="*/ 25 w 54"/>
                <a:gd name="T15" fmla="*/ 204 h 211"/>
                <a:gd name="T16" fmla="*/ 19 w 54"/>
                <a:gd name="T17" fmla="*/ 198 h 211"/>
                <a:gd name="T18" fmla="*/ 19 w 54"/>
                <a:gd name="T19" fmla="*/ 198 h 211"/>
                <a:gd name="T20" fmla="*/ 13 w 54"/>
                <a:gd name="T21" fmla="*/ 189 h 211"/>
                <a:gd name="T22" fmla="*/ 7 w 54"/>
                <a:gd name="T23" fmla="*/ 178 h 211"/>
                <a:gd name="T24" fmla="*/ 5 w 54"/>
                <a:gd name="T25" fmla="*/ 162 h 211"/>
                <a:gd name="T26" fmla="*/ 0 w 54"/>
                <a:gd name="T27" fmla="*/ 143 h 211"/>
                <a:gd name="T28" fmla="*/ 0 w 54"/>
                <a:gd name="T29" fmla="*/ 143 h 211"/>
                <a:gd name="T30" fmla="*/ 0 w 54"/>
                <a:gd name="T31" fmla="*/ 131 h 211"/>
                <a:gd name="T32" fmla="*/ 0 w 54"/>
                <a:gd name="T33" fmla="*/ 118 h 211"/>
                <a:gd name="T34" fmla="*/ 2 w 54"/>
                <a:gd name="T35" fmla="*/ 92 h 211"/>
                <a:gd name="T36" fmla="*/ 7 w 54"/>
                <a:gd name="T37" fmla="*/ 68 h 211"/>
                <a:gd name="T38" fmla="*/ 13 w 54"/>
                <a:gd name="T39" fmla="*/ 47 h 211"/>
                <a:gd name="T40" fmla="*/ 21 w 54"/>
                <a:gd name="T41" fmla="*/ 28 h 211"/>
                <a:gd name="T42" fmla="*/ 28 w 54"/>
                <a:gd name="T43" fmla="*/ 13 h 211"/>
                <a:gd name="T44" fmla="*/ 34 w 54"/>
                <a:gd name="T4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211">
                  <a:moveTo>
                    <a:pt x="34" y="0"/>
                  </a:moveTo>
                  <a:lnTo>
                    <a:pt x="54" y="211"/>
                  </a:lnTo>
                  <a:lnTo>
                    <a:pt x="54" y="211"/>
                  </a:lnTo>
                  <a:lnTo>
                    <a:pt x="51" y="211"/>
                  </a:lnTo>
                  <a:lnTo>
                    <a:pt x="42" y="211"/>
                  </a:lnTo>
                  <a:lnTo>
                    <a:pt x="37" y="210"/>
                  </a:lnTo>
                  <a:lnTo>
                    <a:pt x="31" y="208"/>
                  </a:lnTo>
                  <a:lnTo>
                    <a:pt x="25" y="204"/>
                  </a:lnTo>
                  <a:lnTo>
                    <a:pt x="19" y="198"/>
                  </a:lnTo>
                  <a:lnTo>
                    <a:pt x="19" y="198"/>
                  </a:lnTo>
                  <a:lnTo>
                    <a:pt x="13" y="189"/>
                  </a:lnTo>
                  <a:lnTo>
                    <a:pt x="7" y="178"/>
                  </a:lnTo>
                  <a:lnTo>
                    <a:pt x="5" y="162"/>
                  </a:lnTo>
                  <a:lnTo>
                    <a:pt x="0" y="143"/>
                  </a:lnTo>
                  <a:lnTo>
                    <a:pt x="0" y="143"/>
                  </a:lnTo>
                  <a:lnTo>
                    <a:pt x="0" y="131"/>
                  </a:lnTo>
                  <a:lnTo>
                    <a:pt x="0" y="118"/>
                  </a:lnTo>
                  <a:lnTo>
                    <a:pt x="2" y="92"/>
                  </a:lnTo>
                  <a:lnTo>
                    <a:pt x="7" y="68"/>
                  </a:lnTo>
                  <a:lnTo>
                    <a:pt x="13" y="47"/>
                  </a:lnTo>
                  <a:lnTo>
                    <a:pt x="21" y="28"/>
                  </a:lnTo>
                  <a:lnTo>
                    <a:pt x="28" y="13"/>
                  </a:lnTo>
                  <a:lnTo>
                    <a:pt x="34"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1" name="Freeform 1356"/>
            <p:cNvSpPr>
              <a:spLocks/>
            </p:cNvSpPr>
            <p:nvPr/>
          </p:nvSpPr>
          <p:spPr bwMode="auto">
            <a:xfrm>
              <a:off x="2640065" y="2957820"/>
              <a:ext cx="67842" cy="267597"/>
            </a:xfrm>
            <a:custGeom>
              <a:avLst/>
              <a:gdLst>
                <a:gd name="T0" fmla="*/ 34 w 54"/>
                <a:gd name="T1" fmla="*/ 0 h 211"/>
                <a:gd name="T2" fmla="*/ 54 w 54"/>
                <a:gd name="T3" fmla="*/ 211 h 211"/>
                <a:gd name="T4" fmla="*/ 54 w 54"/>
                <a:gd name="T5" fmla="*/ 211 h 211"/>
                <a:gd name="T6" fmla="*/ 51 w 54"/>
                <a:gd name="T7" fmla="*/ 211 h 211"/>
                <a:gd name="T8" fmla="*/ 42 w 54"/>
                <a:gd name="T9" fmla="*/ 211 h 211"/>
                <a:gd name="T10" fmla="*/ 37 w 54"/>
                <a:gd name="T11" fmla="*/ 210 h 211"/>
                <a:gd name="T12" fmla="*/ 31 w 54"/>
                <a:gd name="T13" fmla="*/ 208 h 211"/>
                <a:gd name="T14" fmla="*/ 25 w 54"/>
                <a:gd name="T15" fmla="*/ 204 h 211"/>
                <a:gd name="T16" fmla="*/ 19 w 54"/>
                <a:gd name="T17" fmla="*/ 198 h 211"/>
                <a:gd name="T18" fmla="*/ 19 w 54"/>
                <a:gd name="T19" fmla="*/ 198 h 211"/>
                <a:gd name="T20" fmla="*/ 13 w 54"/>
                <a:gd name="T21" fmla="*/ 189 h 211"/>
                <a:gd name="T22" fmla="*/ 7 w 54"/>
                <a:gd name="T23" fmla="*/ 178 h 211"/>
                <a:gd name="T24" fmla="*/ 5 w 54"/>
                <a:gd name="T25" fmla="*/ 162 h 211"/>
                <a:gd name="T26" fmla="*/ 0 w 54"/>
                <a:gd name="T27" fmla="*/ 143 h 211"/>
                <a:gd name="T28" fmla="*/ 0 w 54"/>
                <a:gd name="T29" fmla="*/ 143 h 211"/>
                <a:gd name="T30" fmla="*/ 0 w 54"/>
                <a:gd name="T31" fmla="*/ 131 h 211"/>
                <a:gd name="T32" fmla="*/ 0 w 54"/>
                <a:gd name="T33" fmla="*/ 118 h 211"/>
                <a:gd name="T34" fmla="*/ 2 w 54"/>
                <a:gd name="T35" fmla="*/ 92 h 211"/>
                <a:gd name="T36" fmla="*/ 7 w 54"/>
                <a:gd name="T37" fmla="*/ 68 h 211"/>
                <a:gd name="T38" fmla="*/ 13 w 54"/>
                <a:gd name="T39" fmla="*/ 47 h 211"/>
                <a:gd name="T40" fmla="*/ 21 w 54"/>
                <a:gd name="T41" fmla="*/ 28 h 211"/>
                <a:gd name="T42" fmla="*/ 28 w 54"/>
                <a:gd name="T43" fmla="*/ 13 h 211"/>
                <a:gd name="T44" fmla="*/ 34 w 54"/>
                <a:gd name="T4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211">
                  <a:moveTo>
                    <a:pt x="34" y="0"/>
                  </a:moveTo>
                  <a:lnTo>
                    <a:pt x="54" y="211"/>
                  </a:lnTo>
                  <a:lnTo>
                    <a:pt x="54" y="211"/>
                  </a:lnTo>
                  <a:lnTo>
                    <a:pt x="51" y="211"/>
                  </a:lnTo>
                  <a:lnTo>
                    <a:pt x="42" y="211"/>
                  </a:lnTo>
                  <a:lnTo>
                    <a:pt x="37" y="210"/>
                  </a:lnTo>
                  <a:lnTo>
                    <a:pt x="31" y="208"/>
                  </a:lnTo>
                  <a:lnTo>
                    <a:pt x="25" y="204"/>
                  </a:lnTo>
                  <a:lnTo>
                    <a:pt x="19" y="198"/>
                  </a:lnTo>
                  <a:lnTo>
                    <a:pt x="19" y="198"/>
                  </a:lnTo>
                  <a:lnTo>
                    <a:pt x="13" y="189"/>
                  </a:lnTo>
                  <a:lnTo>
                    <a:pt x="7" y="178"/>
                  </a:lnTo>
                  <a:lnTo>
                    <a:pt x="5" y="162"/>
                  </a:lnTo>
                  <a:lnTo>
                    <a:pt x="0" y="143"/>
                  </a:lnTo>
                  <a:lnTo>
                    <a:pt x="0" y="143"/>
                  </a:lnTo>
                  <a:lnTo>
                    <a:pt x="0" y="131"/>
                  </a:lnTo>
                  <a:lnTo>
                    <a:pt x="0" y="118"/>
                  </a:lnTo>
                  <a:lnTo>
                    <a:pt x="2" y="92"/>
                  </a:lnTo>
                  <a:lnTo>
                    <a:pt x="7" y="68"/>
                  </a:lnTo>
                  <a:lnTo>
                    <a:pt x="13" y="47"/>
                  </a:lnTo>
                  <a:lnTo>
                    <a:pt x="21" y="28"/>
                  </a:lnTo>
                  <a:lnTo>
                    <a:pt x="28" y="13"/>
                  </a:lnTo>
                  <a:lnTo>
                    <a:pt x="34" y="0"/>
                  </a:ln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2" name="Freeform 1365"/>
            <p:cNvSpPr>
              <a:spLocks/>
            </p:cNvSpPr>
            <p:nvPr/>
          </p:nvSpPr>
          <p:spPr bwMode="auto">
            <a:xfrm>
              <a:off x="2432773" y="3278181"/>
              <a:ext cx="207294" cy="97993"/>
            </a:xfrm>
            <a:custGeom>
              <a:avLst/>
              <a:gdLst>
                <a:gd name="T0" fmla="*/ 95 w 165"/>
                <a:gd name="T1" fmla="*/ 3 h 76"/>
                <a:gd name="T2" fmla="*/ 95 w 165"/>
                <a:gd name="T3" fmla="*/ 3 h 76"/>
                <a:gd name="T4" fmla="*/ 111 w 165"/>
                <a:gd name="T5" fmla="*/ 1 h 76"/>
                <a:gd name="T6" fmla="*/ 124 w 165"/>
                <a:gd name="T7" fmla="*/ 0 h 76"/>
                <a:gd name="T8" fmla="*/ 136 w 165"/>
                <a:gd name="T9" fmla="*/ 1 h 76"/>
                <a:gd name="T10" fmla="*/ 146 w 165"/>
                <a:gd name="T11" fmla="*/ 3 h 76"/>
                <a:gd name="T12" fmla="*/ 153 w 165"/>
                <a:gd name="T13" fmla="*/ 7 h 76"/>
                <a:gd name="T14" fmla="*/ 159 w 165"/>
                <a:gd name="T15" fmla="*/ 13 h 76"/>
                <a:gd name="T16" fmla="*/ 162 w 165"/>
                <a:gd name="T17" fmla="*/ 20 h 76"/>
                <a:gd name="T18" fmla="*/ 165 w 165"/>
                <a:gd name="T19" fmla="*/ 29 h 76"/>
                <a:gd name="T20" fmla="*/ 165 w 165"/>
                <a:gd name="T21" fmla="*/ 29 h 76"/>
                <a:gd name="T22" fmla="*/ 165 w 165"/>
                <a:gd name="T23" fmla="*/ 38 h 76"/>
                <a:gd name="T24" fmla="*/ 163 w 165"/>
                <a:gd name="T25" fmla="*/ 47 h 76"/>
                <a:gd name="T26" fmla="*/ 160 w 165"/>
                <a:gd name="T27" fmla="*/ 54 h 76"/>
                <a:gd name="T28" fmla="*/ 155 w 165"/>
                <a:gd name="T29" fmla="*/ 60 h 76"/>
                <a:gd name="T30" fmla="*/ 147 w 165"/>
                <a:gd name="T31" fmla="*/ 64 h 76"/>
                <a:gd name="T32" fmla="*/ 136 w 165"/>
                <a:gd name="T33" fmla="*/ 69 h 76"/>
                <a:gd name="T34" fmla="*/ 122 w 165"/>
                <a:gd name="T35" fmla="*/ 73 h 76"/>
                <a:gd name="T36" fmla="*/ 108 w 165"/>
                <a:gd name="T37" fmla="*/ 76 h 76"/>
                <a:gd name="T38" fmla="*/ 108 w 165"/>
                <a:gd name="T39" fmla="*/ 76 h 76"/>
                <a:gd name="T40" fmla="*/ 89 w 165"/>
                <a:gd name="T41" fmla="*/ 76 h 76"/>
                <a:gd name="T42" fmla="*/ 71 w 165"/>
                <a:gd name="T43" fmla="*/ 74 h 76"/>
                <a:gd name="T44" fmla="*/ 53 w 165"/>
                <a:gd name="T45" fmla="*/ 71 h 76"/>
                <a:gd name="T46" fmla="*/ 37 w 165"/>
                <a:gd name="T47" fmla="*/ 67 h 76"/>
                <a:gd name="T48" fmla="*/ 10 w 165"/>
                <a:gd name="T49" fmla="*/ 58 h 76"/>
                <a:gd name="T50" fmla="*/ 0 w 165"/>
                <a:gd name="T51" fmla="*/ 54 h 76"/>
                <a:gd name="T52" fmla="*/ 0 w 165"/>
                <a:gd name="T53" fmla="*/ 54 h 76"/>
                <a:gd name="T54" fmla="*/ 9 w 165"/>
                <a:gd name="T55" fmla="*/ 47 h 76"/>
                <a:gd name="T56" fmla="*/ 31 w 165"/>
                <a:gd name="T57" fmla="*/ 31 h 76"/>
                <a:gd name="T58" fmla="*/ 45 w 165"/>
                <a:gd name="T59" fmla="*/ 22 h 76"/>
                <a:gd name="T60" fmla="*/ 61 w 165"/>
                <a:gd name="T61" fmla="*/ 15 h 76"/>
                <a:gd name="T62" fmla="*/ 77 w 165"/>
                <a:gd name="T63" fmla="*/ 7 h 76"/>
                <a:gd name="T64" fmla="*/ 95 w 165"/>
                <a:gd name="T65" fmla="*/ 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76">
                  <a:moveTo>
                    <a:pt x="95" y="3"/>
                  </a:moveTo>
                  <a:lnTo>
                    <a:pt x="95" y="3"/>
                  </a:lnTo>
                  <a:lnTo>
                    <a:pt x="111" y="1"/>
                  </a:lnTo>
                  <a:lnTo>
                    <a:pt x="124" y="0"/>
                  </a:lnTo>
                  <a:lnTo>
                    <a:pt x="136" y="1"/>
                  </a:lnTo>
                  <a:lnTo>
                    <a:pt x="146" y="3"/>
                  </a:lnTo>
                  <a:lnTo>
                    <a:pt x="153" y="7"/>
                  </a:lnTo>
                  <a:lnTo>
                    <a:pt x="159" y="13"/>
                  </a:lnTo>
                  <a:lnTo>
                    <a:pt x="162" y="20"/>
                  </a:lnTo>
                  <a:lnTo>
                    <a:pt x="165" y="29"/>
                  </a:lnTo>
                  <a:lnTo>
                    <a:pt x="165" y="29"/>
                  </a:lnTo>
                  <a:lnTo>
                    <a:pt x="165" y="38"/>
                  </a:lnTo>
                  <a:lnTo>
                    <a:pt x="163" y="47"/>
                  </a:lnTo>
                  <a:lnTo>
                    <a:pt x="160" y="54"/>
                  </a:lnTo>
                  <a:lnTo>
                    <a:pt x="155" y="60"/>
                  </a:lnTo>
                  <a:lnTo>
                    <a:pt x="147" y="64"/>
                  </a:lnTo>
                  <a:lnTo>
                    <a:pt x="136" y="69"/>
                  </a:lnTo>
                  <a:lnTo>
                    <a:pt x="122" y="73"/>
                  </a:lnTo>
                  <a:lnTo>
                    <a:pt x="108" y="76"/>
                  </a:lnTo>
                  <a:lnTo>
                    <a:pt x="108" y="76"/>
                  </a:lnTo>
                  <a:lnTo>
                    <a:pt x="89" y="76"/>
                  </a:lnTo>
                  <a:lnTo>
                    <a:pt x="71" y="74"/>
                  </a:lnTo>
                  <a:lnTo>
                    <a:pt x="53" y="71"/>
                  </a:lnTo>
                  <a:lnTo>
                    <a:pt x="37" y="67"/>
                  </a:lnTo>
                  <a:lnTo>
                    <a:pt x="10" y="58"/>
                  </a:lnTo>
                  <a:lnTo>
                    <a:pt x="0" y="54"/>
                  </a:lnTo>
                  <a:lnTo>
                    <a:pt x="0" y="54"/>
                  </a:lnTo>
                  <a:lnTo>
                    <a:pt x="9" y="47"/>
                  </a:lnTo>
                  <a:lnTo>
                    <a:pt x="31" y="31"/>
                  </a:lnTo>
                  <a:lnTo>
                    <a:pt x="45" y="22"/>
                  </a:lnTo>
                  <a:lnTo>
                    <a:pt x="61" y="15"/>
                  </a:lnTo>
                  <a:lnTo>
                    <a:pt x="77" y="7"/>
                  </a:lnTo>
                  <a:lnTo>
                    <a:pt x="95" y="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3" name="Freeform 1366"/>
            <p:cNvSpPr>
              <a:spLocks/>
            </p:cNvSpPr>
            <p:nvPr/>
          </p:nvSpPr>
          <p:spPr bwMode="auto">
            <a:xfrm>
              <a:off x="2432773" y="3278181"/>
              <a:ext cx="207294" cy="97993"/>
            </a:xfrm>
            <a:custGeom>
              <a:avLst/>
              <a:gdLst>
                <a:gd name="T0" fmla="*/ 95 w 165"/>
                <a:gd name="T1" fmla="*/ 3 h 76"/>
                <a:gd name="T2" fmla="*/ 95 w 165"/>
                <a:gd name="T3" fmla="*/ 3 h 76"/>
                <a:gd name="T4" fmla="*/ 111 w 165"/>
                <a:gd name="T5" fmla="*/ 1 h 76"/>
                <a:gd name="T6" fmla="*/ 124 w 165"/>
                <a:gd name="T7" fmla="*/ 0 h 76"/>
                <a:gd name="T8" fmla="*/ 136 w 165"/>
                <a:gd name="T9" fmla="*/ 1 h 76"/>
                <a:gd name="T10" fmla="*/ 146 w 165"/>
                <a:gd name="T11" fmla="*/ 3 h 76"/>
                <a:gd name="T12" fmla="*/ 153 w 165"/>
                <a:gd name="T13" fmla="*/ 7 h 76"/>
                <a:gd name="T14" fmla="*/ 159 w 165"/>
                <a:gd name="T15" fmla="*/ 13 h 76"/>
                <a:gd name="T16" fmla="*/ 162 w 165"/>
                <a:gd name="T17" fmla="*/ 20 h 76"/>
                <a:gd name="T18" fmla="*/ 165 w 165"/>
                <a:gd name="T19" fmla="*/ 29 h 76"/>
                <a:gd name="T20" fmla="*/ 165 w 165"/>
                <a:gd name="T21" fmla="*/ 29 h 76"/>
                <a:gd name="T22" fmla="*/ 165 w 165"/>
                <a:gd name="T23" fmla="*/ 38 h 76"/>
                <a:gd name="T24" fmla="*/ 163 w 165"/>
                <a:gd name="T25" fmla="*/ 47 h 76"/>
                <a:gd name="T26" fmla="*/ 160 w 165"/>
                <a:gd name="T27" fmla="*/ 54 h 76"/>
                <a:gd name="T28" fmla="*/ 155 w 165"/>
                <a:gd name="T29" fmla="*/ 60 h 76"/>
                <a:gd name="T30" fmla="*/ 147 w 165"/>
                <a:gd name="T31" fmla="*/ 64 h 76"/>
                <a:gd name="T32" fmla="*/ 136 w 165"/>
                <a:gd name="T33" fmla="*/ 69 h 76"/>
                <a:gd name="T34" fmla="*/ 122 w 165"/>
                <a:gd name="T35" fmla="*/ 73 h 76"/>
                <a:gd name="T36" fmla="*/ 108 w 165"/>
                <a:gd name="T37" fmla="*/ 76 h 76"/>
                <a:gd name="T38" fmla="*/ 108 w 165"/>
                <a:gd name="T39" fmla="*/ 76 h 76"/>
                <a:gd name="T40" fmla="*/ 89 w 165"/>
                <a:gd name="T41" fmla="*/ 76 h 76"/>
                <a:gd name="T42" fmla="*/ 71 w 165"/>
                <a:gd name="T43" fmla="*/ 74 h 76"/>
                <a:gd name="T44" fmla="*/ 53 w 165"/>
                <a:gd name="T45" fmla="*/ 71 h 76"/>
                <a:gd name="T46" fmla="*/ 37 w 165"/>
                <a:gd name="T47" fmla="*/ 67 h 76"/>
                <a:gd name="T48" fmla="*/ 10 w 165"/>
                <a:gd name="T49" fmla="*/ 58 h 76"/>
                <a:gd name="T50" fmla="*/ 0 w 165"/>
                <a:gd name="T51" fmla="*/ 54 h 76"/>
                <a:gd name="T52" fmla="*/ 0 w 165"/>
                <a:gd name="T53" fmla="*/ 54 h 76"/>
                <a:gd name="T54" fmla="*/ 9 w 165"/>
                <a:gd name="T55" fmla="*/ 47 h 76"/>
                <a:gd name="T56" fmla="*/ 31 w 165"/>
                <a:gd name="T57" fmla="*/ 31 h 76"/>
                <a:gd name="T58" fmla="*/ 45 w 165"/>
                <a:gd name="T59" fmla="*/ 22 h 76"/>
                <a:gd name="T60" fmla="*/ 61 w 165"/>
                <a:gd name="T61" fmla="*/ 15 h 76"/>
                <a:gd name="T62" fmla="*/ 77 w 165"/>
                <a:gd name="T63" fmla="*/ 7 h 76"/>
                <a:gd name="T64" fmla="*/ 95 w 165"/>
                <a:gd name="T65" fmla="*/ 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76">
                  <a:moveTo>
                    <a:pt x="95" y="3"/>
                  </a:moveTo>
                  <a:lnTo>
                    <a:pt x="95" y="3"/>
                  </a:lnTo>
                  <a:lnTo>
                    <a:pt x="111" y="1"/>
                  </a:lnTo>
                  <a:lnTo>
                    <a:pt x="124" y="0"/>
                  </a:lnTo>
                  <a:lnTo>
                    <a:pt x="136" y="1"/>
                  </a:lnTo>
                  <a:lnTo>
                    <a:pt x="146" y="3"/>
                  </a:lnTo>
                  <a:lnTo>
                    <a:pt x="153" y="7"/>
                  </a:lnTo>
                  <a:lnTo>
                    <a:pt x="159" y="13"/>
                  </a:lnTo>
                  <a:lnTo>
                    <a:pt x="162" y="20"/>
                  </a:lnTo>
                  <a:lnTo>
                    <a:pt x="165" y="29"/>
                  </a:lnTo>
                  <a:lnTo>
                    <a:pt x="165" y="29"/>
                  </a:lnTo>
                  <a:lnTo>
                    <a:pt x="165" y="38"/>
                  </a:lnTo>
                  <a:lnTo>
                    <a:pt x="163" y="47"/>
                  </a:lnTo>
                  <a:lnTo>
                    <a:pt x="160" y="54"/>
                  </a:lnTo>
                  <a:lnTo>
                    <a:pt x="155" y="60"/>
                  </a:lnTo>
                  <a:lnTo>
                    <a:pt x="147" y="64"/>
                  </a:lnTo>
                  <a:lnTo>
                    <a:pt x="136" y="69"/>
                  </a:lnTo>
                  <a:lnTo>
                    <a:pt x="122" y="73"/>
                  </a:lnTo>
                  <a:lnTo>
                    <a:pt x="108" y="76"/>
                  </a:lnTo>
                  <a:lnTo>
                    <a:pt x="108" y="76"/>
                  </a:lnTo>
                  <a:lnTo>
                    <a:pt x="89" y="76"/>
                  </a:lnTo>
                  <a:lnTo>
                    <a:pt x="71" y="74"/>
                  </a:lnTo>
                  <a:lnTo>
                    <a:pt x="53" y="71"/>
                  </a:lnTo>
                  <a:lnTo>
                    <a:pt x="37" y="67"/>
                  </a:lnTo>
                  <a:lnTo>
                    <a:pt x="10" y="58"/>
                  </a:lnTo>
                  <a:lnTo>
                    <a:pt x="0" y="54"/>
                  </a:lnTo>
                  <a:lnTo>
                    <a:pt x="0" y="54"/>
                  </a:lnTo>
                  <a:lnTo>
                    <a:pt x="9" y="47"/>
                  </a:lnTo>
                  <a:lnTo>
                    <a:pt x="31" y="31"/>
                  </a:lnTo>
                  <a:lnTo>
                    <a:pt x="45" y="22"/>
                  </a:lnTo>
                  <a:lnTo>
                    <a:pt x="61" y="15"/>
                  </a:lnTo>
                  <a:lnTo>
                    <a:pt x="77" y="7"/>
                  </a:lnTo>
                  <a:lnTo>
                    <a:pt x="95" y="3"/>
                  </a:ln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4" name="Freeform 1367"/>
            <p:cNvSpPr>
              <a:spLocks/>
            </p:cNvSpPr>
            <p:nvPr/>
          </p:nvSpPr>
          <p:spPr bwMode="auto">
            <a:xfrm>
              <a:off x="2432773" y="3315870"/>
              <a:ext cx="207294" cy="60303"/>
            </a:xfrm>
            <a:custGeom>
              <a:avLst/>
              <a:gdLst>
                <a:gd name="T0" fmla="*/ 0 w 166"/>
                <a:gd name="T1" fmla="*/ 25 h 47"/>
                <a:gd name="T2" fmla="*/ 165 w 166"/>
                <a:gd name="T3" fmla="*/ 0 h 47"/>
                <a:gd name="T4" fmla="*/ 165 w 166"/>
                <a:gd name="T5" fmla="*/ 0 h 47"/>
                <a:gd name="T6" fmla="*/ 165 w 166"/>
                <a:gd name="T7" fmla="*/ 3 h 47"/>
                <a:gd name="T8" fmla="*/ 166 w 166"/>
                <a:gd name="T9" fmla="*/ 9 h 47"/>
                <a:gd name="T10" fmla="*/ 165 w 166"/>
                <a:gd name="T11" fmla="*/ 13 h 47"/>
                <a:gd name="T12" fmla="*/ 163 w 166"/>
                <a:gd name="T13" fmla="*/ 19 h 47"/>
                <a:gd name="T14" fmla="*/ 160 w 166"/>
                <a:gd name="T15" fmla="*/ 23 h 47"/>
                <a:gd name="T16" fmla="*/ 156 w 166"/>
                <a:gd name="T17" fmla="*/ 29 h 47"/>
                <a:gd name="T18" fmla="*/ 156 w 166"/>
                <a:gd name="T19" fmla="*/ 29 h 47"/>
                <a:gd name="T20" fmla="*/ 150 w 166"/>
                <a:gd name="T21" fmla="*/ 34 h 47"/>
                <a:gd name="T22" fmla="*/ 140 w 166"/>
                <a:gd name="T23" fmla="*/ 38 h 47"/>
                <a:gd name="T24" fmla="*/ 128 w 166"/>
                <a:gd name="T25" fmla="*/ 42 h 47"/>
                <a:gd name="T26" fmla="*/ 114 w 166"/>
                <a:gd name="T27" fmla="*/ 45 h 47"/>
                <a:gd name="T28" fmla="*/ 114 w 166"/>
                <a:gd name="T29" fmla="*/ 45 h 47"/>
                <a:gd name="T30" fmla="*/ 104 w 166"/>
                <a:gd name="T31" fmla="*/ 47 h 47"/>
                <a:gd name="T32" fmla="*/ 93 w 166"/>
                <a:gd name="T33" fmla="*/ 47 h 47"/>
                <a:gd name="T34" fmla="*/ 73 w 166"/>
                <a:gd name="T35" fmla="*/ 47 h 47"/>
                <a:gd name="T36" fmla="*/ 54 w 166"/>
                <a:gd name="T37" fmla="*/ 44 h 47"/>
                <a:gd name="T38" fmla="*/ 37 w 166"/>
                <a:gd name="T39" fmla="*/ 40 h 47"/>
                <a:gd name="T40" fmla="*/ 22 w 166"/>
                <a:gd name="T41" fmla="*/ 34 h 47"/>
                <a:gd name="T42" fmla="*/ 10 w 166"/>
                <a:gd name="T43" fmla="*/ 29 h 47"/>
                <a:gd name="T44" fmla="*/ 0 w 166"/>
                <a:gd name="T45" fmla="*/ 2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 h="47">
                  <a:moveTo>
                    <a:pt x="0" y="25"/>
                  </a:moveTo>
                  <a:lnTo>
                    <a:pt x="165" y="0"/>
                  </a:lnTo>
                  <a:lnTo>
                    <a:pt x="165" y="0"/>
                  </a:lnTo>
                  <a:lnTo>
                    <a:pt x="165" y="3"/>
                  </a:lnTo>
                  <a:lnTo>
                    <a:pt x="166" y="9"/>
                  </a:lnTo>
                  <a:lnTo>
                    <a:pt x="165" y="13"/>
                  </a:lnTo>
                  <a:lnTo>
                    <a:pt x="163" y="19"/>
                  </a:lnTo>
                  <a:lnTo>
                    <a:pt x="160" y="23"/>
                  </a:lnTo>
                  <a:lnTo>
                    <a:pt x="156" y="29"/>
                  </a:lnTo>
                  <a:lnTo>
                    <a:pt x="156" y="29"/>
                  </a:lnTo>
                  <a:lnTo>
                    <a:pt x="150" y="34"/>
                  </a:lnTo>
                  <a:lnTo>
                    <a:pt x="140" y="38"/>
                  </a:lnTo>
                  <a:lnTo>
                    <a:pt x="128" y="42"/>
                  </a:lnTo>
                  <a:lnTo>
                    <a:pt x="114" y="45"/>
                  </a:lnTo>
                  <a:lnTo>
                    <a:pt x="114" y="45"/>
                  </a:lnTo>
                  <a:lnTo>
                    <a:pt x="104" y="47"/>
                  </a:lnTo>
                  <a:lnTo>
                    <a:pt x="93" y="47"/>
                  </a:lnTo>
                  <a:lnTo>
                    <a:pt x="73" y="47"/>
                  </a:lnTo>
                  <a:lnTo>
                    <a:pt x="54" y="44"/>
                  </a:lnTo>
                  <a:lnTo>
                    <a:pt x="37" y="40"/>
                  </a:lnTo>
                  <a:lnTo>
                    <a:pt x="22" y="34"/>
                  </a:lnTo>
                  <a:lnTo>
                    <a:pt x="10" y="29"/>
                  </a:lnTo>
                  <a:lnTo>
                    <a:pt x="0" y="2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5" name="Freeform 1368"/>
            <p:cNvSpPr>
              <a:spLocks/>
            </p:cNvSpPr>
            <p:nvPr/>
          </p:nvSpPr>
          <p:spPr bwMode="auto">
            <a:xfrm>
              <a:off x="2432773" y="3315870"/>
              <a:ext cx="207294" cy="60303"/>
            </a:xfrm>
            <a:custGeom>
              <a:avLst/>
              <a:gdLst>
                <a:gd name="T0" fmla="*/ 0 w 166"/>
                <a:gd name="T1" fmla="*/ 25 h 47"/>
                <a:gd name="T2" fmla="*/ 165 w 166"/>
                <a:gd name="T3" fmla="*/ 0 h 47"/>
                <a:gd name="T4" fmla="*/ 165 w 166"/>
                <a:gd name="T5" fmla="*/ 0 h 47"/>
                <a:gd name="T6" fmla="*/ 165 w 166"/>
                <a:gd name="T7" fmla="*/ 3 h 47"/>
                <a:gd name="T8" fmla="*/ 166 w 166"/>
                <a:gd name="T9" fmla="*/ 9 h 47"/>
                <a:gd name="T10" fmla="*/ 165 w 166"/>
                <a:gd name="T11" fmla="*/ 13 h 47"/>
                <a:gd name="T12" fmla="*/ 163 w 166"/>
                <a:gd name="T13" fmla="*/ 19 h 47"/>
                <a:gd name="T14" fmla="*/ 160 w 166"/>
                <a:gd name="T15" fmla="*/ 23 h 47"/>
                <a:gd name="T16" fmla="*/ 156 w 166"/>
                <a:gd name="T17" fmla="*/ 29 h 47"/>
                <a:gd name="T18" fmla="*/ 156 w 166"/>
                <a:gd name="T19" fmla="*/ 29 h 47"/>
                <a:gd name="T20" fmla="*/ 150 w 166"/>
                <a:gd name="T21" fmla="*/ 34 h 47"/>
                <a:gd name="T22" fmla="*/ 140 w 166"/>
                <a:gd name="T23" fmla="*/ 38 h 47"/>
                <a:gd name="T24" fmla="*/ 128 w 166"/>
                <a:gd name="T25" fmla="*/ 42 h 47"/>
                <a:gd name="T26" fmla="*/ 114 w 166"/>
                <a:gd name="T27" fmla="*/ 45 h 47"/>
                <a:gd name="T28" fmla="*/ 114 w 166"/>
                <a:gd name="T29" fmla="*/ 45 h 47"/>
                <a:gd name="T30" fmla="*/ 104 w 166"/>
                <a:gd name="T31" fmla="*/ 47 h 47"/>
                <a:gd name="T32" fmla="*/ 93 w 166"/>
                <a:gd name="T33" fmla="*/ 47 h 47"/>
                <a:gd name="T34" fmla="*/ 73 w 166"/>
                <a:gd name="T35" fmla="*/ 47 h 47"/>
                <a:gd name="T36" fmla="*/ 54 w 166"/>
                <a:gd name="T37" fmla="*/ 44 h 47"/>
                <a:gd name="T38" fmla="*/ 37 w 166"/>
                <a:gd name="T39" fmla="*/ 40 h 47"/>
                <a:gd name="T40" fmla="*/ 22 w 166"/>
                <a:gd name="T41" fmla="*/ 34 h 47"/>
                <a:gd name="T42" fmla="*/ 10 w 166"/>
                <a:gd name="T43" fmla="*/ 29 h 47"/>
                <a:gd name="T44" fmla="*/ 0 w 166"/>
                <a:gd name="T45" fmla="*/ 2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 h="47">
                  <a:moveTo>
                    <a:pt x="0" y="25"/>
                  </a:moveTo>
                  <a:lnTo>
                    <a:pt x="165" y="0"/>
                  </a:lnTo>
                  <a:lnTo>
                    <a:pt x="165" y="0"/>
                  </a:lnTo>
                  <a:lnTo>
                    <a:pt x="165" y="3"/>
                  </a:lnTo>
                  <a:lnTo>
                    <a:pt x="166" y="9"/>
                  </a:lnTo>
                  <a:lnTo>
                    <a:pt x="165" y="13"/>
                  </a:lnTo>
                  <a:lnTo>
                    <a:pt x="163" y="19"/>
                  </a:lnTo>
                  <a:lnTo>
                    <a:pt x="160" y="23"/>
                  </a:lnTo>
                  <a:lnTo>
                    <a:pt x="156" y="29"/>
                  </a:lnTo>
                  <a:lnTo>
                    <a:pt x="156" y="29"/>
                  </a:lnTo>
                  <a:lnTo>
                    <a:pt x="150" y="34"/>
                  </a:lnTo>
                  <a:lnTo>
                    <a:pt x="140" y="38"/>
                  </a:lnTo>
                  <a:lnTo>
                    <a:pt x="128" y="42"/>
                  </a:lnTo>
                  <a:lnTo>
                    <a:pt x="114" y="45"/>
                  </a:lnTo>
                  <a:lnTo>
                    <a:pt x="114" y="45"/>
                  </a:lnTo>
                  <a:lnTo>
                    <a:pt x="104" y="47"/>
                  </a:lnTo>
                  <a:lnTo>
                    <a:pt x="93" y="47"/>
                  </a:lnTo>
                  <a:lnTo>
                    <a:pt x="73" y="47"/>
                  </a:lnTo>
                  <a:lnTo>
                    <a:pt x="54" y="44"/>
                  </a:lnTo>
                  <a:lnTo>
                    <a:pt x="37" y="40"/>
                  </a:lnTo>
                  <a:lnTo>
                    <a:pt x="22" y="34"/>
                  </a:lnTo>
                  <a:lnTo>
                    <a:pt x="10" y="29"/>
                  </a:lnTo>
                  <a:lnTo>
                    <a:pt x="0" y="25"/>
                  </a:ln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66" name="Group 65"/>
            <p:cNvGrpSpPr/>
            <p:nvPr/>
          </p:nvGrpSpPr>
          <p:grpSpPr>
            <a:xfrm>
              <a:off x="2327243" y="2584694"/>
              <a:ext cx="203523" cy="101763"/>
              <a:chOff x="9114825" y="2531692"/>
              <a:chExt cx="178844" cy="89423"/>
            </a:xfrm>
            <a:solidFill>
              <a:schemeClr val="bg1"/>
            </a:solidFill>
          </p:grpSpPr>
          <p:sp>
            <p:nvSpPr>
              <p:cNvPr id="67" name="Freeform 1369"/>
              <p:cNvSpPr>
                <a:spLocks/>
              </p:cNvSpPr>
              <p:nvPr/>
            </p:nvSpPr>
            <p:spPr bwMode="auto">
              <a:xfrm>
                <a:off x="9114825" y="2531692"/>
                <a:ext cx="178844" cy="89423"/>
              </a:xfrm>
              <a:custGeom>
                <a:avLst/>
                <a:gdLst>
                  <a:gd name="T0" fmla="*/ 108 w 162"/>
                  <a:gd name="T1" fmla="*/ 4 h 81"/>
                  <a:gd name="T2" fmla="*/ 108 w 162"/>
                  <a:gd name="T3" fmla="*/ 4 h 81"/>
                  <a:gd name="T4" fmla="*/ 124 w 162"/>
                  <a:gd name="T5" fmla="*/ 8 h 81"/>
                  <a:gd name="T6" fmla="*/ 136 w 162"/>
                  <a:gd name="T7" fmla="*/ 13 h 81"/>
                  <a:gd name="T8" fmla="*/ 146 w 162"/>
                  <a:gd name="T9" fmla="*/ 19 h 81"/>
                  <a:gd name="T10" fmla="*/ 155 w 162"/>
                  <a:gd name="T11" fmla="*/ 24 h 81"/>
                  <a:gd name="T12" fmla="*/ 159 w 162"/>
                  <a:gd name="T13" fmla="*/ 32 h 81"/>
                  <a:gd name="T14" fmla="*/ 162 w 162"/>
                  <a:gd name="T15" fmla="*/ 39 h 81"/>
                  <a:gd name="T16" fmla="*/ 162 w 162"/>
                  <a:gd name="T17" fmla="*/ 48 h 81"/>
                  <a:gd name="T18" fmla="*/ 161 w 162"/>
                  <a:gd name="T19" fmla="*/ 56 h 81"/>
                  <a:gd name="T20" fmla="*/ 161 w 162"/>
                  <a:gd name="T21" fmla="*/ 56 h 81"/>
                  <a:gd name="T22" fmla="*/ 158 w 162"/>
                  <a:gd name="T23" fmla="*/ 65 h 81"/>
                  <a:gd name="T24" fmla="*/ 153 w 162"/>
                  <a:gd name="T25" fmla="*/ 71 h 81"/>
                  <a:gd name="T26" fmla="*/ 146 w 162"/>
                  <a:gd name="T27" fmla="*/ 77 h 81"/>
                  <a:gd name="T28" fmla="*/ 139 w 162"/>
                  <a:gd name="T29" fmla="*/ 80 h 81"/>
                  <a:gd name="T30" fmla="*/ 130 w 162"/>
                  <a:gd name="T31" fmla="*/ 81 h 81"/>
                  <a:gd name="T32" fmla="*/ 119 w 162"/>
                  <a:gd name="T33" fmla="*/ 80 h 81"/>
                  <a:gd name="T34" fmla="*/ 105 w 162"/>
                  <a:gd name="T35" fmla="*/ 78 h 81"/>
                  <a:gd name="T36" fmla="*/ 89 w 162"/>
                  <a:gd name="T37" fmla="*/ 74 h 81"/>
                  <a:gd name="T38" fmla="*/ 89 w 162"/>
                  <a:gd name="T39" fmla="*/ 74 h 81"/>
                  <a:gd name="T40" fmla="*/ 73 w 162"/>
                  <a:gd name="T41" fmla="*/ 68 h 81"/>
                  <a:gd name="T42" fmla="*/ 57 w 162"/>
                  <a:gd name="T43" fmla="*/ 59 h 81"/>
                  <a:gd name="T44" fmla="*/ 41 w 162"/>
                  <a:gd name="T45" fmla="*/ 48 h 81"/>
                  <a:gd name="T46" fmla="*/ 28 w 162"/>
                  <a:gd name="T47" fmla="*/ 38 h 81"/>
                  <a:gd name="T48" fmla="*/ 8 w 162"/>
                  <a:gd name="T49" fmla="*/ 19 h 81"/>
                  <a:gd name="T50" fmla="*/ 0 w 162"/>
                  <a:gd name="T51" fmla="*/ 10 h 81"/>
                  <a:gd name="T52" fmla="*/ 0 w 162"/>
                  <a:gd name="T53" fmla="*/ 10 h 81"/>
                  <a:gd name="T54" fmla="*/ 11 w 162"/>
                  <a:gd name="T55" fmla="*/ 7 h 81"/>
                  <a:gd name="T56" fmla="*/ 38 w 162"/>
                  <a:gd name="T57" fmla="*/ 3 h 81"/>
                  <a:gd name="T58" fmla="*/ 54 w 162"/>
                  <a:gd name="T59" fmla="*/ 0 h 81"/>
                  <a:gd name="T60" fmla="*/ 73 w 162"/>
                  <a:gd name="T61" fmla="*/ 0 h 81"/>
                  <a:gd name="T62" fmla="*/ 91 w 162"/>
                  <a:gd name="T63" fmla="*/ 0 h 81"/>
                  <a:gd name="T64" fmla="*/ 108 w 162"/>
                  <a:gd name="T65" fmla="*/ 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81">
                    <a:moveTo>
                      <a:pt x="108" y="4"/>
                    </a:moveTo>
                    <a:lnTo>
                      <a:pt x="108" y="4"/>
                    </a:lnTo>
                    <a:lnTo>
                      <a:pt x="124" y="8"/>
                    </a:lnTo>
                    <a:lnTo>
                      <a:pt x="136" y="13"/>
                    </a:lnTo>
                    <a:lnTo>
                      <a:pt x="146" y="19"/>
                    </a:lnTo>
                    <a:lnTo>
                      <a:pt x="155" y="24"/>
                    </a:lnTo>
                    <a:lnTo>
                      <a:pt x="159" y="32"/>
                    </a:lnTo>
                    <a:lnTo>
                      <a:pt x="162" y="39"/>
                    </a:lnTo>
                    <a:lnTo>
                      <a:pt x="162" y="48"/>
                    </a:lnTo>
                    <a:lnTo>
                      <a:pt x="161" y="56"/>
                    </a:lnTo>
                    <a:lnTo>
                      <a:pt x="161" y="56"/>
                    </a:lnTo>
                    <a:lnTo>
                      <a:pt x="158" y="65"/>
                    </a:lnTo>
                    <a:lnTo>
                      <a:pt x="153" y="71"/>
                    </a:lnTo>
                    <a:lnTo>
                      <a:pt x="146" y="77"/>
                    </a:lnTo>
                    <a:lnTo>
                      <a:pt x="139" y="80"/>
                    </a:lnTo>
                    <a:lnTo>
                      <a:pt x="130" y="81"/>
                    </a:lnTo>
                    <a:lnTo>
                      <a:pt x="119" y="80"/>
                    </a:lnTo>
                    <a:lnTo>
                      <a:pt x="105" y="78"/>
                    </a:lnTo>
                    <a:lnTo>
                      <a:pt x="89" y="74"/>
                    </a:lnTo>
                    <a:lnTo>
                      <a:pt x="89" y="74"/>
                    </a:lnTo>
                    <a:lnTo>
                      <a:pt x="73" y="68"/>
                    </a:lnTo>
                    <a:lnTo>
                      <a:pt x="57" y="59"/>
                    </a:lnTo>
                    <a:lnTo>
                      <a:pt x="41" y="48"/>
                    </a:lnTo>
                    <a:lnTo>
                      <a:pt x="28" y="38"/>
                    </a:lnTo>
                    <a:lnTo>
                      <a:pt x="8" y="19"/>
                    </a:lnTo>
                    <a:lnTo>
                      <a:pt x="0" y="10"/>
                    </a:lnTo>
                    <a:lnTo>
                      <a:pt x="0" y="10"/>
                    </a:lnTo>
                    <a:lnTo>
                      <a:pt x="11" y="7"/>
                    </a:lnTo>
                    <a:lnTo>
                      <a:pt x="38" y="3"/>
                    </a:lnTo>
                    <a:lnTo>
                      <a:pt x="54" y="0"/>
                    </a:lnTo>
                    <a:lnTo>
                      <a:pt x="73" y="0"/>
                    </a:lnTo>
                    <a:lnTo>
                      <a:pt x="91" y="0"/>
                    </a:lnTo>
                    <a:lnTo>
                      <a:pt x="10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370"/>
              <p:cNvSpPr>
                <a:spLocks/>
              </p:cNvSpPr>
              <p:nvPr/>
            </p:nvSpPr>
            <p:spPr bwMode="auto">
              <a:xfrm>
                <a:off x="9114825" y="2531692"/>
                <a:ext cx="178844" cy="89423"/>
              </a:xfrm>
              <a:custGeom>
                <a:avLst/>
                <a:gdLst>
                  <a:gd name="T0" fmla="*/ 108 w 162"/>
                  <a:gd name="T1" fmla="*/ 4 h 81"/>
                  <a:gd name="T2" fmla="*/ 108 w 162"/>
                  <a:gd name="T3" fmla="*/ 4 h 81"/>
                  <a:gd name="T4" fmla="*/ 124 w 162"/>
                  <a:gd name="T5" fmla="*/ 8 h 81"/>
                  <a:gd name="T6" fmla="*/ 136 w 162"/>
                  <a:gd name="T7" fmla="*/ 13 h 81"/>
                  <a:gd name="T8" fmla="*/ 146 w 162"/>
                  <a:gd name="T9" fmla="*/ 19 h 81"/>
                  <a:gd name="T10" fmla="*/ 155 w 162"/>
                  <a:gd name="T11" fmla="*/ 24 h 81"/>
                  <a:gd name="T12" fmla="*/ 159 w 162"/>
                  <a:gd name="T13" fmla="*/ 32 h 81"/>
                  <a:gd name="T14" fmla="*/ 162 w 162"/>
                  <a:gd name="T15" fmla="*/ 39 h 81"/>
                  <a:gd name="T16" fmla="*/ 162 w 162"/>
                  <a:gd name="T17" fmla="*/ 48 h 81"/>
                  <a:gd name="T18" fmla="*/ 161 w 162"/>
                  <a:gd name="T19" fmla="*/ 56 h 81"/>
                  <a:gd name="T20" fmla="*/ 161 w 162"/>
                  <a:gd name="T21" fmla="*/ 56 h 81"/>
                  <a:gd name="T22" fmla="*/ 158 w 162"/>
                  <a:gd name="T23" fmla="*/ 65 h 81"/>
                  <a:gd name="T24" fmla="*/ 153 w 162"/>
                  <a:gd name="T25" fmla="*/ 71 h 81"/>
                  <a:gd name="T26" fmla="*/ 146 w 162"/>
                  <a:gd name="T27" fmla="*/ 77 h 81"/>
                  <a:gd name="T28" fmla="*/ 139 w 162"/>
                  <a:gd name="T29" fmla="*/ 80 h 81"/>
                  <a:gd name="T30" fmla="*/ 130 w 162"/>
                  <a:gd name="T31" fmla="*/ 81 h 81"/>
                  <a:gd name="T32" fmla="*/ 119 w 162"/>
                  <a:gd name="T33" fmla="*/ 80 h 81"/>
                  <a:gd name="T34" fmla="*/ 105 w 162"/>
                  <a:gd name="T35" fmla="*/ 78 h 81"/>
                  <a:gd name="T36" fmla="*/ 89 w 162"/>
                  <a:gd name="T37" fmla="*/ 74 h 81"/>
                  <a:gd name="T38" fmla="*/ 89 w 162"/>
                  <a:gd name="T39" fmla="*/ 74 h 81"/>
                  <a:gd name="T40" fmla="*/ 73 w 162"/>
                  <a:gd name="T41" fmla="*/ 68 h 81"/>
                  <a:gd name="T42" fmla="*/ 57 w 162"/>
                  <a:gd name="T43" fmla="*/ 59 h 81"/>
                  <a:gd name="T44" fmla="*/ 41 w 162"/>
                  <a:gd name="T45" fmla="*/ 48 h 81"/>
                  <a:gd name="T46" fmla="*/ 28 w 162"/>
                  <a:gd name="T47" fmla="*/ 38 h 81"/>
                  <a:gd name="T48" fmla="*/ 8 w 162"/>
                  <a:gd name="T49" fmla="*/ 19 h 81"/>
                  <a:gd name="T50" fmla="*/ 0 w 162"/>
                  <a:gd name="T51" fmla="*/ 10 h 81"/>
                  <a:gd name="T52" fmla="*/ 0 w 162"/>
                  <a:gd name="T53" fmla="*/ 10 h 81"/>
                  <a:gd name="T54" fmla="*/ 11 w 162"/>
                  <a:gd name="T55" fmla="*/ 7 h 81"/>
                  <a:gd name="T56" fmla="*/ 38 w 162"/>
                  <a:gd name="T57" fmla="*/ 3 h 81"/>
                  <a:gd name="T58" fmla="*/ 54 w 162"/>
                  <a:gd name="T59" fmla="*/ 0 h 81"/>
                  <a:gd name="T60" fmla="*/ 73 w 162"/>
                  <a:gd name="T61" fmla="*/ 0 h 81"/>
                  <a:gd name="T62" fmla="*/ 91 w 162"/>
                  <a:gd name="T63" fmla="*/ 0 h 81"/>
                  <a:gd name="T64" fmla="*/ 108 w 162"/>
                  <a:gd name="T65" fmla="*/ 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81">
                    <a:moveTo>
                      <a:pt x="108" y="4"/>
                    </a:moveTo>
                    <a:lnTo>
                      <a:pt x="108" y="4"/>
                    </a:lnTo>
                    <a:lnTo>
                      <a:pt x="124" y="8"/>
                    </a:lnTo>
                    <a:lnTo>
                      <a:pt x="136" y="13"/>
                    </a:lnTo>
                    <a:lnTo>
                      <a:pt x="146" y="19"/>
                    </a:lnTo>
                    <a:lnTo>
                      <a:pt x="155" y="24"/>
                    </a:lnTo>
                    <a:lnTo>
                      <a:pt x="159" y="32"/>
                    </a:lnTo>
                    <a:lnTo>
                      <a:pt x="162" y="39"/>
                    </a:lnTo>
                    <a:lnTo>
                      <a:pt x="162" y="48"/>
                    </a:lnTo>
                    <a:lnTo>
                      <a:pt x="161" y="56"/>
                    </a:lnTo>
                    <a:lnTo>
                      <a:pt x="161" y="56"/>
                    </a:lnTo>
                    <a:lnTo>
                      <a:pt x="158" y="65"/>
                    </a:lnTo>
                    <a:lnTo>
                      <a:pt x="153" y="71"/>
                    </a:lnTo>
                    <a:lnTo>
                      <a:pt x="146" y="77"/>
                    </a:lnTo>
                    <a:lnTo>
                      <a:pt x="139" y="80"/>
                    </a:lnTo>
                    <a:lnTo>
                      <a:pt x="130" y="81"/>
                    </a:lnTo>
                    <a:lnTo>
                      <a:pt x="119" y="80"/>
                    </a:lnTo>
                    <a:lnTo>
                      <a:pt x="105" y="78"/>
                    </a:lnTo>
                    <a:lnTo>
                      <a:pt x="89" y="74"/>
                    </a:lnTo>
                    <a:lnTo>
                      <a:pt x="89" y="74"/>
                    </a:lnTo>
                    <a:lnTo>
                      <a:pt x="73" y="68"/>
                    </a:lnTo>
                    <a:lnTo>
                      <a:pt x="57" y="59"/>
                    </a:lnTo>
                    <a:lnTo>
                      <a:pt x="41" y="48"/>
                    </a:lnTo>
                    <a:lnTo>
                      <a:pt x="28" y="38"/>
                    </a:lnTo>
                    <a:lnTo>
                      <a:pt x="8" y="19"/>
                    </a:lnTo>
                    <a:lnTo>
                      <a:pt x="0" y="10"/>
                    </a:lnTo>
                    <a:lnTo>
                      <a:pt x="0" y="10"/>
                    </a:lnTo>
                    <a:lnTo>
                      <a:pt x="11" y="7"/>
                    </a:lnTo>
                    <a:lnTo>
                      <a:pt x="38" y="3"/>
                    </a:lnTo>
                    <a:lnTo>
                      <a:pt x="54" y="0"/>
                    </a:lnTo>
                    <a:lnTo>
                      <a:pt x="73" y="0"/>
                    </a:lnTo>
                    <a:lnTo>
                      <a:pt x="91" y="0"/>
                    </a:lnTo>
                    <a:lnTo>
                      <a:pt x="108"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371"/>
              <p:cNvSpPr>
                <a:spLocks/>
              </p:cNvSpPr>
              <p:nvPr/>
            </p:nvSpPr>
            <p:spPr bwMode="auto">
              <a:xfrm>
                <a:off x="9114825" y="2544940"/>
                <a:ext cx="178844" cy="76175"/>
              </a:xfrm>
              <a:custGeom>
                <a:avLst/>
                <a:gdLst>
                  <a:gd name="T0" fmla="*/ 0 w 161"/>
                  <a:gd name="T1" fmla="*/ 0 h 71"/>
                  <a:gd name="T2" fmla="*/ 161 w 161"/>
                  <a:gd name="T3" fmla="*/ 46 h 71"/>
                  <a:gd name="T4" fmla="*/ 161 w 161"/>
                  <a:gd name="T5" fmla="*/ 46 h 71"/>
                  <a:gd name="T6" fmla="*/ 161 w 161"/>
                  <a:gd name="T7" fmla="*/ 49 h 71"/>
                  <a:gd name="T8" fmla="*/ 158 w 161"/>
                  <a:gd name="T9" fmla="*/ 55 h 71"/>
                  <a:gd name="T10" fmla="*/ 156 w 161"/>
                  <a:gd name="T11" fmla="*/ 60 h 71"/>
                  <a:gd name="T12" fmla="*/ 152 w 161"/>
                  <a:gd name="T13" fmla="*/ 63 h 71"/>
                  <a:gd name="T14" fmla="*/ 148 w 161"/>
                  <a:gd name="T15" fmla="*/ 65 h 71"/>
                  <a:gd name="T16" fmla="*/ 142 w 161"/>
                  <a:gd name="T17" fmla="*/ 68 h 71"/>
                  <a:gd name="T18" fmla="*/ 142 w 161"/>
                  <a:gd name="T19" fmla="*/ 68 h 71"/>
                  <a:gd name="T20" fmla="*/ 133 w 161"/>
                  <a:gd name="T21" fmla="*/ 71 h 71"/>
                  <a:gd name="T22" fmla="*/ 123 w 161"/>
                  <a:gd name="T23" fmla="*/ 71 h 71"/>
                  <a:gd name="T24" fmla="*/ 111 w 161"/>
                  <a:gd name="T25" fmla="*/ 70 h 71"/>
                  <a:gd name="T26" fmla="*/ 97 w 161"/>
                  <a:gd name="T27" fmla="*/ 67 h 71"/>
                  <a:gd name="T28" fmla="*/ 97 w 161"/>
                  <a:gd name="T29" fmla="*/ 67 h 71"/>
                  <a:gd name="T30" fmla="*/ 86 w 161"/>
                  <a:gd name="T31" fmla="*/ 64 h 71"/>
                  <a:gd name="T32" fmla="*/ 76 w 161"/>
                  <a:gd name="T33" fmla="*/ 60 h 71"/>
                  <a:gd name="T34" fmla="*/ 59 w 161"/>
                  <a:gd name="T35" fmla="*/ 51 h 71"/>
                  <a:gd name="T36" fmla="*/ 43 w 161"/>
                  <a:gd name="T37" fmla="*/ 39 h 71"/>
                  <a:gd name="T38" fmla="*/ 28 w 161"/>
                  <a:gd name="T39" fmla="*/ 28 h 71"/>
                  <a:gd name="T40" fmla="*/ 17 w 161"/>
                  <a:gd name="T41" fmla="*/ 17 h 71"/>
                  <a:gd name="T42" fmla="*/ 8 w 161"/>
                  <a:gd name="T43" fmla="*/ 9 h 71"/>
                  <a:gd name="T44" fmla="*/ 0 w 161"/>
                  <a:gd name="T4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 h="71">
                    <a:moveTo>
                      <a:pt x="0" y="0"/>
                    </a:moveTo>
                    <a:lnTo>
                      <a:pt x="161" y="46"/>
                    </a:lnTo>
                    <a:lnTo>
                      <a:pt x="161" y="46"/>
                    </a:lnTo>
                    <a:lnTo>
                      <a:pt x="161" y="49"/>
                    </a:lnTo>
                    <a:lnTo>
                      <a:pt x="158" y="55"/>
                    </a:lnTo>
                    <a:lnTo>
                      <a:pt x="156" y="60"/>
                    </a:lnTo>
                    <a:lnTo>
                      <a:pt x="152" y="63"/>
                    </a:lnTo>
                    <a:lnTo>
                      <a:pt x="148" y="65"/>
                    </a:lnTo>
                    <a:lnTo>
                      <a:pt x="142" y="68"/>
                    </a:lnTo>
                    <a:lnTo>
                      <a:pt x="142" y="68"/>
                    </a:lnTo>
                    <a:lnTo>
                      <a:pt x="133" y="71"/>
                    </a:lnTo>
                    <a:lnTo>
                      <a:pt x="123" y="71"/>
                    </a:lnTo>
                    <a:lnTo>
                      <a:pt x="111" y="70"/>
                    </a:lnTo>
                    <a:lnTo>
                      <a:pt x="97" y="67"/>
                    </a:lnTo>
                    <a:lnTo>
                      <a:pt x="97" y="67"/>
                    </a:lnTo>
                    <a:lnTo>
                      <a:pt x="86" y="64"/>
                    </a:lnTo>
                    <a:lnTo>
                      <a:pt x="76" y="60"/>
                    </a:lnTo>
                    <a:lnTo>
                      <a:pt x="59" y="51"/>
                    </a:lnTo>
                    <a:lnTo>
                      <a:pt x="43" y="39"/>
                    </a:lnTo>
                    <a:lnTo>
                      <a:pt x="28" y="28"/>
                    </a:lnTo>
                    <a:lnTo>
                      <a:pt x="17" y="17"/>
                    </a:lnTo>
                    <a:lnTo>
                      <a:pt x="8" y="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372"/>
              <p:cNvSpPr>
                <a:spLocks/>
              </p:cNvSpPr>
              <p:nvPr/>
            </p:nvSpPr>
            <p:spPr bwMode="auto">
              <a:xfrm>
                <a:off x="9114825" y="2544940"/>
                <a:ext cx="178844" cy="76175"/>
              </a:xfrm>
              <a:custGeom>
                <a:avLst/>
                <a:gdLst>
                  <a:gd name="T0" fmla="*/ 0 w 161"/>
                  <a:gd name="T1" fmla="*/ 0 h 71"/>
                  <a:gd name="T2" fmla="*/ 161 w 161"/>
                  <a:gd name="T3" fmla="*/ 46 h 71"/>
                  <a:gd name="T4" fmla="*/ 161 w 161"/>
                  <a:gd name="T5" fmla="*/ 46 h 71"/>
                  <a:gd name="T6" fmla="*/ 161 w 161"/>
                  <a:gd name="T7" fmla="*/ 49 h 71"/>
                  <a:gd name="T8" fmla="*/ 158 w 161"/>
                  <a:gd name="T9" fmla="*/ 55 h 71"/>
                  <a:gd name="T10" fmla="*/ 156 w 161"/>
                  <a:gd name="T11" fmla="*/ 60 h 71"/>
                  <a:gd name="T12" fmla="*/ 152 w 161"/>
                  <a:gd name="T13" fmla="*/ 63 h 71"/>
                  <a:gd name="T14" fmla="*/ 148 w 161"/>
                  <a:gd name="T15" fmla="*/ 65 h 71"/>
                  <a:gd name="T16" fmla="*/ 142 w 161"/>
                  <a:gd name="T17" fmla="*/ 68 h 71"/>
                  <a:gd name="T18" fmla="*/ 142 w 161"/>
                  <a:gd name="T19" fmla="*/ 68 h 71"/>
                  <a:gd name="T20" fmla="*/ 133 w 161"/>
                  <a:gd name="T21" fmla="*/ 71 h 71"/>
                  <a:gd name="T22" fmla="*/ 123 w 161"/>
                  <a:gd name="T23" fmla="*/ 71 h 71"/>
                  <a:gd name="T24" fmla="*/ 111 w 161"/>
                  <a:gd name="T25" fmla="*/ 70 h 71"/>
                  <a:gd name="T26" fmla="*/ 97 w 161"/>
                  <a:gd name="T27" fmla="*/ 67 h 71"/>
                  <a:gd name="T28" fmla="*/ 97 w 161"/>
                  <a:gd name="T29" fmla="*/ 67 h 71"/>
                  <a:gd name="T30" fmla="*/ 86 w 161"/>
                  <a:gd name="T31" fmla="*/ 64 h 71"/>
                  <a:gd name="T32" fmla="*/ 76 w 161"/>
                  <a:gd name="T33" fmla="*/ 60 h 71"/>
                  <a:gd name="T34" fmla="*/ 59 w 161"/>
                  <a:gd name="T35" fmla="*/ 51 h 71"/>
                  <a:gd name="T36" fmla="*/ 43 w 161"/>
                  <a:gd name="T37" fmla="*/ 39 h 71"/>
                  <a:gd name="T38" fmla="*/ 28 w 161"/>
                  <a:gd name="T39" fmla="*/ 28 h 71"/>
                  <a:gd name="T40" fmla="*/ 17 w 161"/>
                  <a:gd name="T41" fmla="*/ 17 h 71"/>
                  <a:gd name="T42" fmla="*/ 8 w 161"/>
                  <a:gd name="T43" fmla="*/ 9 h 71"/>
                  <a:gd name="T44" fmla="*/ 0 w 161"/>
                  <a:gd name="T4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 h="71">
                    <a:moveTo>
                      <a:pt x="0" y="0"/>
                    </a:moveTo>
                    <a:lnTo>
                      <a:pt x="161" y="46"/>
                    </a:lnTo>
                    <a:lnTo>
                      <a:pt x="161" y="46"/>
                    </a:lnTo>
                    <a:lnTo>
                      <a:pt x="161" y="49"/>
                    </a:lnTo>
                    <a:lnTo>
                      <a:pt x="158" y="55"/>
                    </a:lnTo>
                    <a:lnTo>
                      <a:pt x="156" y="60"/>
                    </a:lnTo>
                    <a:lnTo>
                      <a:pt x="152" y="63"/>
                    </a:lnTo>
                    <a:lnTo>
                      <a:pt x="148" y="65"/>
                    </a:lnTo>
                    <a:lnTo>
                      <a:pt x="142" y="68"/>
                    </a:lnTo>
                    <a:lnTo>
                      <a:pt x="142" y="68"/>
                    </a:lnTo>
                    <a:lnTo>
                      <a:pt x="133" y="71"/>
                    </a:lnTo>
                    <a:lnTo>
                      <a:pt x="123" y="71"/>
                    </a:lnTo>
                    <a:lnTo>
                      <a:pt x="111" y="70"/>
                    </a:lnTo>
                    <a:lnTo>
                      <a:pt x="97" y="67"/>
                    </a:lnTo>
                    <a:lnTo>
                      <a:pt x="97" y="67"/>
                    </a:lnTo>
                    <a:lnTo>
                      <a:pt x="86" y="64"/>
                    </a:lnTo>
                    <a:lnTo>
                      <a:pt x="76" y="60"/>
                    </a:lnTo>
                    <a:lnTo>
                      <a:pt x="59" y="51"/>
                    </a:lnTo>
                    <a:lnTo>
                      <a:pt x="43" y="39"/>
                    </a:lnTo>
                    <a:lnTo>
                      <a:pt x="28" y="28"/>
                    </a:lnTo>
                    <a:lnTo>
                      <a:pt x="17" y="17"/>
                    </a:lnTo>
                    <a:lnTo>
                      <a:pt x="8" y="9"/>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 name="Freeform 1383"/>
            <p:cNvSpPr>
              <a:spLocks/>
            </p:cNvSpPr>
            <p:nvPr/>
          </p:nvSpPr>
          <p:spPr bwMode="auto">
            <a:xfrm>
              <a:off x="2508152" y="3116115"/>
              <a:ext cx="384433" cy="358052"/>
            </a:xfrm>
            <a:custGeom>
              <a:avLst/>
              <a:gdLst>
                <a:gd name="T0" fmla="*/ 299 w 306"/>
                <a:gd name="T1" fmla="*/ 249 h 286"/>
                <a:gd name="T2" fmla="*/ 35 w 306"/>
                <a:gd name="T3" fmla="*/ 6 h 286"/>
                <a:gd name="T4" fmla="*/ 35 w 306"/>
                <a:gd name="T5" fmla="*/ 6 h 286"/>
                <a:gd name="T6" fmla="*/ 29 w 306"/>
                <a:gd name="T7" fmla="*/ 1 h 286"/>
                <a:gd name="T8" fmla="*/ 20 w 306"/>
                <a:gd name="T9" fmla="*/ 0 h 286"/>
                <a:gd name="T10" fmla="*/ 13 w 306"/>
                <a:gd name="T11" fmla="*/ 3 h 286"/>
                <a:gd name="T12" fmla="*/ 9 w 306"/>
                <a:gd name="T13" fmla="*/ 4 h 286"/>
                <a:gd name="T14" fmla="*/ 6 w 306"/>
                <a:gd name="T15" fmla="*/ 7 h 286"/>
                <a:gd name="T16" fmla="*/ 6 w 306"/>
                <a:gd name="T17" fmla="*/ 7 h 286"/>
                <a:gd name="T18" fmla="*/ 1 w 306"/>
                <a:gd name="T19" fmla="*/ 14 h 286"/>
                <a:gd name="T20" fmla="*/ 0 w 306"/>
                <a:gd name="T21" fmla="*/ 23 h 286"/>
                <a:gd name="T22" fmla="*/ 1 w 306"/>
                <a:gd name="T23" fmla="*/ 30 h 286"/>
                <a:gd name="T24" fmla="*/ 4 w 306"/>
                <a:gd name="T25" fmla="*/ 33 h 286"/>
                <a:gd name="T26" fmla="*/ 7 w 306"/>
                <a:gd name="T27" fmla="*/ 38 h 286"/>
                <a:gd name="T28" fmla="*/ 269 w 306"/>
                <a:gd name="T29" fmla="*/ 281 h 286"/>
                <a:gd name="T30" fmla="*/ 269 w 306"/>
                <a:gd name="T31" fmla="*/ 281 h 286"/>
                <a:gd name="T32" fmla="*/ 277 w 306"/>
                <a:gd name="T33" fmla="*/ 286 h 286"/>
                <a:gd name="T34" fmla="*/ 285 w 306"/>
                <a:gd name="T35" fmla="*/ 286 h 286"/>
                <a:gd name="T36" fmla="*/ 293 w 306"/>
                <a:gd name="T37" fmla="*/ 284 h 286"/>
                <a:gd name="T38" fmla="*/ 297 w 306"/>
                <a:gd name="T39" fmla="*/ 283 h 286"/>
                <a:gd name="T40" fmla="*/ 300 w 306"/>
                <a:gd name="T41" fmla="*/ 280 h 286"/>
                <a:gd name="T42" fmla="*/ 300 w 306"/>
                <a:gd name="T43" fmla="*/ 280 h 286"/>
                <a:gd name="T44" fmla="*/ 304 w 306"/>
                <a:gd name="T45" fmla="*/ 272 h 286"/>
                <a:gd name="T46" fmla="*/ 306 w 306"/>
                <a:gd name="T47" fmla="*/ 264 h 286"/>
                <a:gd name="T48" fmla="*/ 303 w 306"/>
                <a:gd name="T49" fmla="*/ 256 h 286"/>
                <a:gd name="T50" fmla="*/ 301 w 306"/>
                <a:gd name="T51" fmla="*/ 252 h 286"/>
                <a:gd name="T52" fmla="*/ 299 w 306"/>
                <a:gd name="T53" fmla="*/ 24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6" h="286">
                  <a:moveTo>
                    <a:pt x="299" y="249"/>
                  </a:moveTo>
                  <a:lnTo>
                    <a:pt x="35" y="6"/>
                  </a:lnTo>
                  <a:lnTo>
                    <a:pt x="35" y="6"/>
                  </a:lnTo>
                  <a:lnTo>
                    <a:pt x="29" y="1"/>
                  </a:lnTo>
                  <a:lnTo>
                    <a:pt x="20" y="0"/>
                  </a:lnTo>
                  <a:lnTo>
                    <a:pt x="13" y="3"/>
                  </a:lnTo>
                  <a:lnTo>
                    <a:pt x="9" y="4"/>
                  </a:lnTo>
                  <a:lnTo>
                    <a:pt x="6" y="7"/>
                  </a:lnTo>
                  <a:lnTo>
                    <a:pt x="6" y="7"/>
                  </a:lnTo>
                  <a:lnTo>
                    <a:pt x="1" y="14"/>
                  </a:lnTo>
                  <a:lnTo>
                    <a:pt x="0" y="23"/>
                  </a:lnTo>
                  <a:lnTo>
                    <a:pt x="1" y="30"/>
                  </a:lnTo>
                  <a:lnTo>
                    <a:pt x="4" y="33"/>
                  </a:lnTo>
                  <a:lnTo>
                    <a:pt x="7" y="38"/>
                  </a:lnTo>
                  <a:lnTo>
                    <a:pt x="269" y="281"/>
                  </a:lnTo>
                  <a:lnTo>
                    <a:pt x="269" y="281"/>
                  </a:lnTo>
                  <a:lnTo>
                    <a:pt x="277" y="286"/>
                  </a:lnTo>
                  <a:lnTo>
                    <a:pt x="285" y="286"/>
                  </a:lnTo>
                  <a:lnTo>
                    <a:pt x="293" y="284"/>
                  </a:lnTo>
                  <a:lnTo>
                    <a:pt x="297" y="283"/>
                  </a:lnTo>
                  <a:lnTo>
                    <a:pt x="300" y="280"/>
                  </a:lnTo>
                  <a:lnTo>
                    <a:pt x="300" y="280"/>
                  </a:lnTo>
                  <a:lnTo>
                    <a:pt x="304" y="272"/>
                  </a:lnTo>
                  <a:lnTo>
                    <a:pt x="306" y="264"/>
                  </a:lnTo>
                  <a:lnTo>
                    <a:pt x="303" y="256"/>
                  </a:lnTo>
                  <a:lnTo>
                    <a:pt x="301" y="252"/>
                  </a:lnTo>
                  <a:lnTo>
                    <a:pt x="299" y="24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2" name="Freeform 1384"/>
            <p:cNvSpPr>
              <a:spLocks/>
            </p:cNvSpPr>
            <p:nvPr/>
          </p:nvSpPr>
          <p:spPr bwMode="auto">
            <a:xfrm>
              <a:off x="2508152" y="3116115"/>
              <a:ext cx="384433" cy="358052"/>
            </a:xfrm>
            <a:custGeom>
              <a:avLst/>
              <a:gdLst>
                <a:gd name="T0" fmla="*/ 299 w 306"/>
                <a:gd name="T1" fmla="*/ 249 h 286"/>
                <a:gd name="T2" fmla="*/ 35 w 306"/>
                <a:gd name="T3" fmla="*/ 6 h 286"/>
                <a:gd name="T4" fmla="*/ 35 w 306"/>
                <a:gd name="T5" fmla="*/ 6 h 286"/>
                <a:gd name="T6" fmla="*/ 29 w 306"/>
                <a:gd name="T7" fmla="*/ 1 h 286"/>
                <a:gd name="T8" fmla="*/ 20 w 306"/>
                <a:gd name="T9" fmla="*/ 0 h 286"/>
                <a:gd name="T10" fmla="*/ 13 w 306"/>
                <a:gd name="T11" fmla="*/ 3 h 286"/>
                <a:gd name="T12" fmla="*/ 9 w 306"/>
                <a:gd name="T13" fmla="*/ 4 h 286"/>
                <a:gd name="T14" fmla="*/ 6 w 306"/>
                <a:gd name="T15" fmla="*/ 7 h 286"/>
                <a:gd name="T16" fmla="*/ 6 w 306"/>
                <a:gd name="T17" fmla="*/ 7 h 286"/>
                <a:gd name="T18" fmla="*/ 1 w 306"/>
                <a:gd name="T19" fmla="*/ 14 h 286"/>
                <a:gd name="T20" fmla="*/ 0 w 306"/>
                <a:gd name="T21" fmla="*/ 23 h 286"/>
                <a:gd name="T22" fmla="*/ 1 w 306"/>
                <a:gd name="T23" fmla="*/ 30 h 286"/>
                <a:gd name="T24" fmla="*/ 4 w 306"/>
                <a:gd name="T25" fmla="*/ 33 h 286"/>
                <a:gd name="T26" fmla="*/ 7 w 306"/>
                <a:gd name="T27" fmla="*/ 38 h 286"/>
                <a:gd name="T28" fmla="*/ 269 w 306"/>
                <a:gd name="T29" fmla="*/ 281 h 286"/>
                <a:gd name="T30" fmla="*/ 269 w 306"/>
                <a:gd name="T31" fmla="*/ 281 h 286"/>
                <a:gd name="T32" fmla="*/ 277 w 306"/>
                <a:gd name="T33" fmla="*/ 286 h 286"/>
                <a:gd name="T34" fmla="*/ 285 w 306"/>
                <a:gd name="T35" fmla="*/ 286 h 286"/>
                <a:gd name="T36" fmla="*/ 293 w 306"/>
                <a:gd name="T37" fmla="*/ 284 h 286"/>
                <a:gd name="T38" fmla="*/ 297 w 306"/>
                <a:gd name="T39" fmla="*/ 283 h 286"/>
                <a:gd name="T40" fmla="*/ 300 w 306"/>
                <a:gd name="T41" fmla="*/ 280 h 286"/>
                <a:gd name="T42" fmla="*/ 300 w 306"/>
                <a:gd name="T43" fmla="*/ 280 h 286"/>
                <a:gd name="T44" fmla="*/ 304 w 306"/>
                <a:gd name="T45" fmla="*/ 272 h 286"/>
                <a:gd name="T46" fmla="*/ 306 w 306"/>
                <a:gd name="T47" fmla="*/ 264 h 286"/>
                <a:gd name="T48" fmla="*/ 303 w 306"/>
                <a:gd name="T49" fmla="*/ 256 h 286"/>
                <a:gd name="T50" fmla="*/ 301 w 306"/>
                <a:gd name="T51" fmla="*/ 252 h 286"/>
                <a:gd name="T52" fmla="*/ 299 w 306"/>
                <a:gd name="T53" fmla="*/ 24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6" h="286">
                  <a:moveTo>
                    <a:pt x="299" y="249"/>
                  </a:moveTo>
                  <a:lnTo>
                    <a:pt x="35" y="6"/>
                  </a:lnTo>
                  <a:lnTo>
                    <a:pt x="35" y="6"/>
                  </a:lnTo>
                  <a:lnTo>
                    <a:pt x="29" y="1"/>
                  </a:lnTo>
                  <a:lnTo>
                    <a:pt x="20" y="0"/>
                  </a:lnTo>
                  <a:lnTo>
                    <a:pt x="13" y="3"/>
                  </a:lnTo>
                  <a:lnTo>
                    <a:pt x="9" y="4"/>
                  </a:lnTo>
                  <a:lnTo>
                    <a:pt x="6" y="7"/>
                  </a:lnTo>
                  <a:lnTo>
                    <a:pt x="6" y="7"/>
                  </a:lnTo>
                  <a:lnTo>
                    <a:pt x="1" y="14"/>
                  </a:lnTo>
                  <a:lnTo>
                    <a:pt x="0" y="23"/>
                  </a:lnTo>
                  <a:lnTo>
                    <a:pt x="1" y="30"/>
                  </a:lnTo>
                  <a:lnTo>
                    <a:pt x="4" y="33"/>
                  </a:lnTo>
                  <a:lnTo>
                    <a:pt x="7" y="38"/>
                  </a:lnTo>
                  <a:lnTo>
                    <a:pt x="269" y="281"/>
                  </a:lnTo>
                  <a:lnTo>
                    <a:pt x="269" y="281"/>
                  </a:lnTo>
                  <a:lnTo>
                    <a:pt x="277" y="286"/>
                  </a:lnTo>
                  <a:lnTo>
                    <a:pt x="285" y="286"/>
                  </a:lnTo>
                  <a:lnTo>
                    <a:pt x="293" y="284"/>
                  </a:lnTo>
                  <a:lnTo>
                    <a:pt x="297" y="283"/>
                  </a:lnTo>
                  <a:lnTo>
                    <a:pt x="300" y="280"/>
                  </a:lnTo>
                  <a:lnTo>
                    <a:pt x="300" y="280"/>
                  </a:lnTo>
                  <a:lnTo>
                    <a:pt x="304" y="272"/>
                  </a:lnTo>
                  <a:lnTo>
                    <a:pt x="306" y="264"/>
                  </a:lnTo>
                  <a:lnTo>
                    <a:pt x="303" y="256"/>
                  </a:lnTo>
                  <a:lnTo>
                    <a:pt x="301" y="252"/>
                  </a:lnTo>
                  <a:lnTo>
                    <a:pt x="299" y="249"/>
                  </a:ln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3" name="Freeform 1385"/>
            <p:cNvSpPr>
              <a:spLocks/>
            </p:cNvSpPr>
            <p:nvPr/>
          </p:nvSpPr>
          <p:spPr bwMode="auto">
            <a:xfrm>
              <a:off x="2783284" y="4016895"/>
              <a:ext cx="162066" cy="37689"/>
            </a:xfrm>
            <a:custGeom>
              <a:avLst/>
              <a:gdLst>
                <a:gd name="T0" fmla="*/ 0 w 130"/>
                <a:gd name="T1" fmla="*/ 19 h 31"/>
                <a:gd name="T2" fmla="*/ 10 w 130"/>
                <a:gd name="T3" fmla="*/ 14 h 31"/>
                <a:gd name="T4" fmla="*/ 20 w 130"/>
                <a:gd name="T5" fmla="*/ 9 h 31"/>
                <a:gd name="T6" fmla="*/ 30 w 130"/>
                <a:gd name="T7" fmla="*/ 6 h 31"/>
                <a:gd name="T8" fmla="*/ 45 w 130"/>
                <a:gd name="T9" fmla="*/ 0 h 31"/>
                <a:gd name="T10" fmla="*/ 51 w 130"/>
                <a:gd name="T11" fmla="*/ 11 h 31"/>
                <a:gd name="T12" fmla="*/ 54 w 130"/>
                <a:gd name="T13" fmla="*/ 12 h 31"/>
                <a:gd name="T14" fmla="*/ 57 w 130"/>
                <a:gd name="T15" fmla="*/ 16 h 31"/>
                <a:gd name="T16" fmla="*/ 61 w 130"/>
                <a:gd name="T17" fmla="*/ 18 h 31"/>
                <a:gd name="T18" fmla="*/ 64 w 130"/>
                <a:gd name="T19" fmla="*/ 19 h 31"/>
                <a:gd name="T20" fmla="*/ 65 w 130"/>
                <a:gd name="T21" fmla="*/ 19 h 31"/>
                <a:gd name="T22" fmla="*/ 67 w 130"/>
                <a:gd name="T23" fmla="*/ 18 h 31"/>
                <a:gd name="T24" fmla="*/ 68 w 130"/>
                <a:gd name="T25" fmla="*/ 16 h 31"/>
                <a:gd name="T26" fmla="*/ 71 w 130"/>
                <a:gd name="T27" fmla="*/ 15 h 31"/>
                <a:gd name="T28" fmla="*/ 74 w 130"/>
                <a:gd name="T29" fmla="*/ 14 h 31"/>
                <a:gd name="T30" fmla="*/ 74 w 130"/>
                <a:gd name="T31" fmla="*/ 14 h 31"/>
                <a:gd name="T32" fmla="*/ 74 w 130"/>
                <a:gd name="T33" fmla="*/ 14 h 31"/>
                <a:gd name="T34" fmla="*/ 74 w 130"/>
                <a:gd name="T35" fmla="*/ 14 h 31"/>
                <a:gd name="T36" fmla="*/ 73 w 130"/>
                <a:gd name="T37" fmla="*/ 14 h 31"/>
                <a:gd name="T38" fmla="*/ 76 w 130"/>
                <a:gd name="T39" fmla="*/ 12 h 31"/>
                <a:gd name="T40" fmla="*/ 77 w 130"/>
                <a:gd name="T41" fmla="*/ 9 h 31"/>
                <a:gd name="T42" fmla="*/ 79 w 130"/>
                <a:gd name="T43" fmla="*/ 8 h 31"/>
                <a:gd name="T44" fmla="*/ 87 w 130"/>
                <a:gd name="T45" fmla="*/ 2 h 31"/>
                <a:gd name="T46" fmla="*/ 99 w 130"/>
                <a:gd name="T47" fmla="*/ 5 h 31"/>
                <a:gd name="T48" fmla="*/ 109 w 130"/>
                <a:gd name="T49" fmla="*/ 9 h 31"/>
                <a:gd name="T50" fmla="*/ 119 w 130"/>
                <a:gd name="T51" fmla="*/ 12 h 31"/>
                <a:gd name="T52" fmla="*/ 130 w 130"/>
                <a:gd name="T53" fmla="*/ 16 h 31"/>
                <a:gd name="T54" fmla="*/ 86 w 130"/>
                <a:gd name="T55" fmla="*/ 12 h 31"/>
                <a:gd name="T56" fmla="*/ 86 w 130"/>
                <a:gd name="T57" fmla="*/ 15 h 31"/>
                <a:gd name="T58" fmla="*/ 84 w 130"/>
                <a:gd name="T59" fmla="*/ 19 h 31"/>
                <a:gd name="T60" fmla="*/ 81 w 130"/>
                <a:gd name="T61" fmla="*/ 21 h 31"/>
                <a:gd name="T62" fmla="*/ 79 w 130"/>
                <a:gd name="T63" fmla="*/ 24 h 31"/>
                <a:gd name="T64" fmla="*/ 76 w 130"/>
                <a:gd name="T65" fmla="*/ 27 h 31"/>
                <a:gd name="T66" fmla="*/ 71 w 130"/>
                <a:gd name="T67" fmla="*/ 28 h 31"/>
                <a:gd name="T68" fmla="*/ 68 w 130"/>
                <a:gd name="T69" fmla="*/ 30 h 31"/>
                <a:gd name="T70" fmla="*/ 64 w 130"/>
                <a:gd name="T71" fmla="*/ 31 h 31"/>
                <a:gd name="T72" fmla="*/ 60 w 130"/>
                <a:gd name="T73" fmla="*/ 30 h 31"/>
                <a:gd name="T74" fmla="*/ 57 w 130"/>
                <a:gd name="T75" fmla="*/ 30 h 31"/>
                <a:gd name="T76" fmla="*/ 49 w 130"/>
                <a:gd name="T77" fmla="*/ 25 h 31"/>
                <a:gd name="T78" fmla="*/ 41 w 130"/>
                <a:gd name="T79" fmla="*/ 12 h 31"/>
                <a:gd name="T80" fmla="*/ 0 w 130"/>
                <a:gd name="T81"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31">
                  <a:moveTo>
                    <a:pt x="0" y="19"/>
                  </a:moveTo>
                  <a:lnTo>
                    <a:pt x="0" y="19"/>
                  </a:lnTo>
                  <a:lnTo>
                    <a:pt x="10" y="14"/>
                  </a:lnTo>
                  <a:lnTo>
                    <a:pt x="10" y="14"/>
                  </a:lnTo>
                  <a:lnTo>
                    <a:pt x="20" y="9"/>
                  </a:lnTo>
                  <a:lnTo>
                    <a:pt x="20" y="9"/>
                  </a:lnTo>
                  <a:lnTo>
                    <a:pt x="30" y="6"/>
                  </a:lnTo>
                  <a:lnTo>
                    <a:pt x="30" y="6"/>
                  </a:lnTo>
                  <a:lnTo>
                    <a:pt x="41" y="2"/>
                  </a:lnTo>
                  <a:lnTo>
                    <a:pt x="45" y="0"/>
                  </a:lnTo>
                  <a:lnTo>
                    <a:pt x="49" y="8"/>
                  </a:lnTo>
                  <a:lnTo>
                    <a:pt x="51" y="11"/>
                  </a:lnTo>
                  <a:lnTo>
                    <a:pt x="51" y="11"/>
                  </a:lnTo>
                  <a:lnTo>
                    <a:pt x="54" y="12"/>
                  </a:lnTo>
                  <a:lnTo>
                    <a:pt x="54" y="12"/>
                  </a:lnTo>
                  <a:lnTo>
                    <a:pt x="57" y="16"/>
                  </a:lnTo>
                  <a:lnTo>
                    <a:pt x="57" y="16"/>
                  </a:lnTo>
                  <a:lnTo>
                    <a:pt x="61" y="18"/>
                  </a:lnTo>
                  <a:lnTo>
                    <a:pt x="63" y="19"/>
                  </a:lnTo>
                  <a:lnTo>
                    <a:pt x="64" y="19"/>
                  </a:lnTo>
                  <a:lnTo>
                    <a:pt x="64" y="19"/>
                  </a:lnTo>
                  <a:lnTo>
                    <a:pt x="65" y="19"/>
                  </a:lnTo>
                  <a:lnTo>
                    <a:pt x="65" y="19"/>
                  </a:lnTo>
                  <a:lnTo>
                    <a:pt x="67" y="18"/>
                  </a:lnTo>
                  <a:lnTo>
                    <a:pt x="67" y="18"/>
                  </a:lnTo>
                  <a:lnTo>
                    <a:pt x="68" y="16"/>
                  </a:lnTo>
                  <a:lnTo>
                    <a:pt x="68" y="16"/>
                  </a:lnTo>
                  <a:lnTo>
                    <a:pt x="71" y="15"/>
                  </a:lnTo>
                  <a:lnTo>
                    <a:pt x="71" y="15"/>
                  </a:lnTo>
                  <a:lnTo>
                    <a:pt x="74" y="14"/>
                  </a:lnTo>
                  <a:lnTo>
                    <a:pt x="74" y="14"/>
                  </a:lnTo>
                  <a:lnTo>
                    <a:pt x="74" y="14"/>
                  </a:lnTo>
                  <a:lnTo>
                    <a:pt x="74" y="14"/>
                  </a:lnTo>
                  <a:lnTo>
                    <a:pt x="74" y="14"/>
                  </a:lnTo>
                  <a:lnTo>
                    <a:pt x="74" y="14"/>
                  </a:lnTo>
                  <a:lnTo>
                    <a:pt x="74" y="14"/>
                  </a:lnTo>
                  <a:lnTo>
                    <a:pt x="73" y="14"/>
                  </a:lnTo>
                  <a:lnTo>
                    <a:pt x="73" y="14"/>
                  </a:lnTo>
                  <a:lnTo>
                    <a:pt x="74" y="14"/>
                  </a:lnTo>
                  <a:lnTo>
                    <a:pt x="76" y="12"/>
                  </a:lnTo>
                  <a:lnTo>
                    <a:pt x="76" y="12"/>
                  </a:lnTo>
                  <a:lnTo>
                    <a:pt x="77" y="9"/>
                  </a:lnTo>
                  <a:lnTo>
                    <a:pt x="77" y="9"/>
                  </a:lnTo>
                  <a:lnTo>
                    <a:pt x="79" y="8"/>
                  </a:lnTo>
                  <a:lnTo>
                    <a:pt x="83" y="2"/>
                  </a:lnTo>
                  <a:lnTo>
                    <a:pt x="87" y="2"/>
                  </a:lnTo>
                  <a:lnTo>
                    <a:pt x="87" y="2"/>
                  </a:lnTo>
                  <a:lnTo>
                    <a:pt x="99" y="5"/>
                  </a:lnTo>
                  <a:lnTo>
                    <a:pt x="99" y="5"/>
                  </a:lnTo>
                  <a:lnTo>
                    <a:pt x="109" y="9"/>
                  </a:lnTo>
                  <a:lnTo>
                    <a:pt x="109" y="9"/>
                  </a:lnTo>
                  <a:lnTo>
                    <a:pt x="119" y="12"/>
                  </a:lnTo>
                  <a:lnTo>
                    <a:pt x="119" y="12"/>
                  </a:lnTo>
                  <a:lnTo>
                    <a:pt x="130" y="16"/>
                  </a:lnTo>
                  <a:lnTo>
                    <a:pt x="130" y="18"/>
                  </a:lnTo>
                  <a:lnTo>
                    <a:pt x="86" y="12"/>
                  </a:lnTo>
                  <a:lnTo>
                    <a:pt x="87" y="12"/>
                  </a:lnTo>
                  <a:lnTo>
                    <a:pt x="86" y="15"/>
                  </a:lnTo>
                  <a:lnTo>
                    <a:pt x="86" y="15"/>
                  </a:lnTo>
                  <a:lnTo>
                    <a:pt x="84" y="19"/>
                  </a:lnTo>
                  <a:lnTo>
                    <a:pt x="84" y="19"/>
                  </a:lnTo>
                  <a:lnTo>
                    <a:pt x="81" y="21"/>
                  </a:lnTo>
                  <a:lnTo>
                    <a:pt x="79" y="24"/>
                  </a:lnTo>
                  <a:lnTo>
                    <a:pt x="79" y="24"/>
                  </a:lnTo>
                  <a:lnTo>
                    <a:pt x="76" y="27"/>
                  </a:lnTo>
                  <a:lnTo>
                    <a:pt x="76" y="27"/>
                  </a:lnTo>
                  <a:lnTo>
                    <a:pt x="71" y="28"/>
                  </a:lnTo>
                  <a:lnTo>
                    <a:pt x="71" y="28"/>
                  </a:lnTo>
                  <a:lnTo>
                    <a:pt x="68" y="30"/>
                  </a:lnTo>
                  <a:lnTo>
                    <a:pt x="68" y="30"/>
                  </a:lnTo>
                  <a:lnTo>
                    <a:pt x="64" y="31"/>
                  </a:lnTo>
                  <a:lnTo>
                    <a:pt x="64" y="31"/>
                  </a:lnTo>
                  <a:lnTo>
                    <a:pt x="60" y="30"/>
                  </a:lnTo>
                  <a:lnTo>
                    <a:pt x="60" y="30"/>
                  </a:lnTo>
                  <a:lnTo>
                    <a:pt x="57" y="30"/>
                  </a:lnTo>
                  <a:lnTo>
                    <a:pt x="57" y="30"/>
                  </a:lnTo>
                  <a:lnTo>
                    <a:pt x="49" y="25"/>
                  </a:lnTo>
                  <a:lnTo>
                    <a:pt x="49" y="25"/>
                  </a:lnTo>
                  <a:lnTo>
                    <a:pt x="45" y="18"/>
                  </a:lnTo>
                  <a:lnTo>
                    <a:pt x="41" y="12"/>
                  </a:lnTo>
                  <a:lnTo>
                    <a:pt x="42" y="12"/>
                  </a:lnTo>
                  <a:lnTo>
                    <a:pt x="0" y="21"/>
                  </a:lnTo>
                  <a:lnTo>
                    <a:pt x="0" y="1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74" name="Group 73"/>
            <p:cNvGrpSpPr/>
            <p:nvPr/>
          </p:nvGrpSpPr>
          <p:grpSpPr>
            <a:xfrm rot="523373">
              <a:off x="2603107" y="1419385"/>
              <a:ext cx="714932" cy="1033656"/>
              <a:chOff x="4961005" y="2939293"/>
              <a:chExt cx="1289050" cy="1863725"/>
            </a:xfrm>
            <a:solidFill>
              <a:schemeClr val="bg1"/>
            </a:solidFill>
          </p:grpSpPr>
          <p:sp>
            <p:nvSpPr>
              <p:cNvPr id="75" name="Freeform 78"/>
              <p:cNvSpPr>
                <a:spLocks/>
              </p:cNvSpPr>
              <p:nvPr/>
            </p:nvSpPr>
            <p:spPr bwMode="auto">
              <a:xfrm>
                <a:off x="5410267" y="4510918"/>
                <a:ext cx="390525" cy="65088"/>
              </a:xfrm>
              <a:custGeom>
                <a:avLst/>
                <a:gdLst>
                  <a:gd name="T0" fmla="*/ 246 w 246"/>
                  <a:gd name="T1" fmla="*/ 21 h 41"/>
                  <a:gd name="T2" fmla="*/ 246 w 246"/>
                  <a:gd name="T3" fmla="*/ 21 h 41"/>
                  <a:gd name="T4" fmla="*/ 245 w 246"/>
                  <a:gd name="T5" fmla="*/ 25 h 41"/>
                  <a:gd name="T6" fmla="*/ 244 w 246"/>
                  <a:gd name="T7" fmla="*/ 28 h 41"/>
                  <a:gd name="T8" fmla="*/ 240 w 246"/>
                  <a:gd name="T9" fmla="*/ 33 h 41"/>
                  <a:gd name="T10" fmla="*/ 237 w 246"/>
                  <a:gd name="T11" fmla="*/ 36 h 41"/>
                  <a:gd name="T12" fmla="*/ 234 w 246"/>
                  <a:gd name="T13" fmla="*/ 38 h 41"/>
                  <a:gd name="T14" fmla="*/ 229 w 246"/>
                  <a:gd name="T15" fmla="*/ 40 h 41"/>
                  <a:gd name="T16" fmla="*/ 223 w 246"/>
                  <a:gd name="T17" fmla="*/ 41 h 41"/>
                  <a:gd name="T18" fmla="*/ 218 w 246"/>
                  <a:gd name="T19" fmla="*/ 41 h 41"/>
                  <a:gd name="T20" fmla="*/ 28 w 246"/>
                  <a:gd name="T21" fmla="*/ 41 h 41"/>
                  <a:gd name="T22" fmla="*/ 28 w 246"/>
                  <a:gd name="T23" fmla="*/ 41 h 41"/>
                  <a:gd name="T24" fmla="*/ 23 w 246"/>
                  <a:gd name="T25" fmla="*/ 41 h 41"/>
                  <a:gd name="T26" fmla="*/ 17 w 246"/>
                  <a:gd name="T27" fmla="*/ 40 h 41"/>
                  <a:gd name="T28" fmla="*/ 13 w 246"/>
                  <a:gd name="T29" fmla="*/ 38 h 41"/>
                  <a:gd name="T30" fmla="*/ 9 w 246"/>
                  <a:gd name="T31" fmla="*/ 36 h 41"/>
                  <a:gd name="T32" fmla="*/ 6 w 246"/>
                  <a:gd name="T33" fmla="*/ 33 h 41"/>
                  <a:gd name="T34" fmla="*/ 2 w 246"/>
                  <a:gd name="T35" fmla="*/ 28 h 41"/>
                  <a:gd name="T36" fmla="*/ 1 w 246"/>
                  <a:gd name="T37" fmla="*/ 25 h 41"/>
                  <a:gd name="T38" fmla="*/ 0 w 246"/>
                  <a:gd name="T39" fmla="*/ 21 h 41"/>
                  <a:gd name="T40" fmla="*/ 0 w 246"/>
                  <a:gd name="T41" fmla="*/ 21 h 41"/>
                  <a:gd name="T42" fmla="*/ 0 w 246"/>
                  <a:gd name="T43" fmla="*/ 21 h 41"/>
                  <a:gd name="T44" fmla="*/ 1 w 246"/>
                  <a:gd name="T45" fmla="*/ 17 h 41"/>
                  <a:gd name="T46" fmla="*/ 2 w 246"/>
                  <a:gd name="T47" fmla="*/ 12 h 41"/>
                  <a:gd name="T48" fmla="*/ 6 w 246"/>
                  <a:gd name="T49" fmla="*/ 8 h 41"/>
                  <a:gd name="T50" fmla="*/ 9 w 246"/>
                  <a:gd name="T51" fmla="*/ 6 h 41"/>
                  <a:gd name="T52" fmla="*/ 13 w 246"/>
                  <a:gd name="T53" fmla="*/ 3 h 41"/>
                  <a:gd name="T54" fmla="*/ 17 w 246"/>
                  <a:gd name="T55" fmla="*/ 1 h 41"/>
                  <a:gd name="T56" fmla="*/ 23 w 246"/>
                  <a:gd name="T57" fmla="*/ 0 h 41"/>
                  <a:gd name="T58" fmla="*/ 28 w 246"/>
                  <a:gd name="T59" fmla="*/ 0 h 41"/>
                  <a:gd name="T60" fmla="*/ 218 w 246"/>
                  <a:gd name="T61" fmla="*/ 0 h 41"/>
                  <a:gd name="T62" fmla="*/ 218 w 246"/>
                  <a:gd name="T63" fmla="*/ 0 h 41"/>
                  <a:gd name="T64" fmla="*/ 223 w 246"/>
                  <a:gd name="T65" fmla="*/ 0 h 41"/>
                  <a:gd name="T66" fmla="*/ 229 w 246"/>
                  <a:gd name="T67" fmla="*/ 1 h 41"/>
                  <a:gd name="T68" fmla="*/ 234 w 246"/>
                  <a:gd name="T69" fmla="*/ 3 h 41"/>
                  <a:gd name="T70" fmla="*/ 237 w 246"/>
                  <a:gd name="T71" fmla="*/ 6 h 41"/>
                  <a:gd name="T72" fmla="*/ 240 w 246"/>
                  <a:gd name="T73" fmla="*/ 8 h 41"/>
                  <a:gd name="T74" fmla="*/ 244 w 246"/>
                  <a:gd name="T75" fmla="*/ 12 h 41"/>
                  <a:gd name="T76" fmla="*/ 245 w 246"/>
                  <a:gd name="T77" fmla="*/ 17 h 41"/>
                  <a:gd name="T78" fmla="*/ 246 w 246"/>
                  <a:gd name="T79" fmla="*/ 21 h 41"/>
                  <a:gd name="T80" fmla="*/ 246 w 246"/>
                  <a:gd name="T81"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6" h="41">
                    <a:moveTo>
                      <a:pt x="246" y="21"/>
                    </a:moveTo>
                    <a:lnTo>
                      <a:pt x="246" y="21"/>
                    </a:lnTo>
                    <a:lnTo>
                      <a:pt x="245" y="25"/>
                    </a:lnTo>
                    <a:lnTo>
                      <a:pt x="244" y="28"/>
                    </a:lnTo>
                    <a:lnTo>
                      <a:pt x="240" y="33"/>
                    </a:lnTo>
                    <a:lnTo>
                      <a:pt x="237" y="36"/>
                    </a:lnTo>
                    <a:lnTo>
                      <a:pt x="234" y="38"/>
                    </a:lnTo>
                    <a:lnTo>
                      <a:pt x="229" y="40"/>
                    </a:lnTo>
                    <a:lnTo>
                      <a:pt x="223" y="41"/>
                    </a:lnTo>
                    <a:lnTo>
                      <a:pt x="218" y="41"/>
                    </a:lnTo>
                    <a:lnTo>
                      <a:pt x="28" y="41"/>
                    </a:lnTo>
                    <a:lnTo>
                      <a:pt x="28" y="41"/>
                    </a:lnTo>
                    <a:lnTo>
                      <a:pt x="23" y="41"/>
                    </a:lnTo>
                    <a:lnTo>
                      <a:pt x="17" y="40"/>
                    </a:lnTo>
                    <a:lnTo>
                      <a:pt x="13" y="38"/>
                    </a:lnTo>
                    <a:lnTo>
                      <a:pt x="9" y="36"/>
                    </a:lnTo>
                    <a:lnTo>
                      <a:pt x="6" y="33"/>
                    </a:lnTo>
                    <a:lnTo>
                      <a:pt x="2" y="28"/>
                    </a:lnTo>
                    <a:lnTo>
                      <a:pt x="1" y="25"/>
                    </a:lnTo>
                    <a:lnTo>
                      <a:pt x="0" y="21"/>
                    </a:lnTo>
                    <a:lnTo>
                      <a:pt x="0" y="21"/>
                    </a:lnTo>
                    <a:lnTo>
                      <a:pt x="0" y="21"/>
                    </a:lnTo>
                    <a:lnTo>
                      <a:pt x="1" y="17"/>
                    </a:lnTo>
                    <a:lnTo>
                      <a:pt x="2" y="12"/>
                    </a:lnTo>
                    <a:lnTo>
                      <a:pt x="6" y="8"/>
                    </a:lnTo>
                    <a:lnTo>
                      <a:pt x="9" y="6"/>
                    </a:lnTo>
                    <a:lnTo>
                      <a:pt x="13" y="3"/>
                    </a:lnTo>
                    <a:lnTo>
                      <a:pt x="17" y="1"/>
                    </a:lnTo>
                    <a:lnTo>
                      <a:pt x="23" y="0"/>
                    </a:lnTo>
                    <a:lnTo>
                      <a:pt x="28" y="0"/>
                    </a:lnTo>
                    <a:lnTo>
                      <a:pt x="218" y="0"/>
                    </a:lnTo>
                    <a:lnTo>
                      <a:pt x="218" y="0"/>
                    </a:lnTo>
                    <a:lnTo>
                      <a:pt x="223" y="0"/>
                    </a:lnTo>
                    <a:lnTo>
                      <a:pt x="229" y="1"/>
                    </a:lnTo>
                    <a:lnTo>
                      <a:pt x="234" y="3"/>
                    </a:lnTo>
                    <a:lnTo>
                      <a:pt x="237" y="6"/>
                    </a:lnTo>
                    <a:lnTo>
                      <a:pt x="240" y="8"/>
                    </a:lnTo>
                    <a:lnTo>
                      <a:pt x="244" y="12"/>
                    </a:lnTo>
                    <a:lnTo>
                      <a:pt x="245" y="17"/>
                    </a:lnTo>
                    <a:lnTo>
                      <a:pt x="246" y="21"/>
                    </a:lnTo>
                    <a:lnTo>
                      <a:pt x="246" y="2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6" name="Freeform 79"/>
              <p:cNvSpPr>
                <a:spLocks/>
              </p:cNvSpPr>
              <p:nvPr/>
            </p:nvSpPr>
            <p:spPr bwMode="auto">
              <a:xfrm>
                <a:off x="5410267" y="4585530"/>
                <a:ext cx="390525" cy="66675"/>
              </a:xfrm>
              <a:custGeom>
                <a:avLst/>
                <a:gdLst>
                  <a:gd name="T0" fmla="*/ 246 w 246"/>
                  <a:gd name="T1" fmla="*/ 21 h 42"/>
                  <a:gd name="T2" fmla="*/ 246 w 246"/>
                  <a:gd name="T3" fmla="*/ 21 h 42"/>
                  <a:gd name="T4" fmla="*/ 245 w 246"/>
                  <a:gd name="T5" fmla="*/ 26 h 42"/>
                  <a:gd name="T6" fmla="*/ 244 w 246"/>
                  <a:gd name="T7" fmla="*/ 29 h 42"/>
                  <a:gd name="T8" fmla="*/ 240 w 246"/>
                  <a:gd name="T9" fmla="*/ 33 h 42"/>
                  <a:gd name="T10" fmla="*/ 237 w 246"/>
                  <a:gd name="T11" fmla="*/ 36 h 42"/>
                  <a:gd name="T12" fmla="*/ 234 w 246"/>
                  <a:gd name="T13" fmla="*/ 38 h 42"/>
                  <a:gd name="T14" fmla="*/ 229 w 246"/>
                  <a:gd name="T15" fmla="*/ 41 h 42"/>
                  <a:gd name="T16" fmla="*/ 223 w 246"/>
                  <a:gd name="T17" fmla="*/ 42 h 42"/>
                  <a:gd name="T18" fmla="*/ 218 w 246"/>
                  <a:gd name="T19" fmla="*/ 42 h 42"/>
                  <a:gd name="T20" fmla="*/ 28 w 246"/>
                  <a:gd name="T21" fmla="*/ 42 h 42"/>
                  <a:gd name="T22" fmla="*/ 28 w 246"/>
                  <a:gd name="T23" fmla="*/ 42 h 42"/>
                  <a:gd name="T24" fmla="*/ 23 w 246"/>
                  <a:gd name="T25" fmla="*/ 42 h 42"/>
                  <a:gd name="T26" fmla="*/ 17 w 246"/>
                  <a:gd name="T27" fmla="*/ 41 h 42"/>
                  <a:gd name="T28" fmla="*/ 13 w 246"/>
                  <a:gd name="T29" fmla="*/ 38 h 42"/>
                  <a:gd name="T30" fmla="*/ 9 w 246"/>
                  <a:gd name="T31" fmla="*/ 36 h 42"/>
                  <a:gd name="T32" fmla="*/ 6 w 246"/>
                  <a:gd name="T33" fmla="*/ 33 h 42"/>
                  <a:gd name="T34" fmla="*/ 2 w 246"/>
                  <a:gd name="T35" fmla="*/ 29 h 42"/>
                  <a:gd name="T36" fmla="*/ 1 w 246"/>
                  <a:gd name="T37" fmla="*/ 26 h 42"/>
                  <a:gd name="T38" fmla="*/ 0 w 246"/>
                  <a:gd name="T39" fmla="*/ 21 h 42"/>
                  <a:gd name="T40" fmla="*/ 0 w 246"/>
                  <a:gd name="T41" fmla="*/ 21 h 42"/>
                  <a:gd name="T42" fmla="*/ 0 w 246"/>
                  <a:gd name="T43" fmla="*/ 21 h 42"/>
                  <a:gd name="T44" fmla="*/ 1 w 246"/>
                  <a:gd name="T45" fmla="*/ 17 h 42"/>
                  <a:gd name="T46" fmla="*/ 2 w 246"/>
                  <a:gd name="T47" fmla="*/ 13 h 42"/>
                  <a:gd name="T48" fmla="*/ 6 w 246"/>
                  <a:gd name="T49" fmla="*/ 9 h 42"/>
                  <a:gd name="T50" fmla="*/ 9 w 246"/>
                  <a:gd name="T51" fmla="*/ 7 h 42"/>
                  <a:gd name="T52" fmla="*/ 13 w 246"/>
                  <a:gd name="T53" fmla="*/ 4 h 42"/>
                  <a:gd name="T54" fmla="*/ 17 w 246"/>
                  <a:gd name="T55" fmla="*/ 1 h 42"/>
                  <a:gd name="T56" fmla="*/ 23 w 246"/>
                  <a:gd name="T57" fmla="*/ 0 h 42"/>
                  <a:gd name="T58" fmla="*/ 28 w 246"/>
                  <a:gd name="T59" fmla="*/ 0 h 42"/>
                  <a:gd name="T60" fmla="*/ 218 w 246"/>
                  <a:gd name="T61" fmla="*/ 0 h 42"/>
                  <a:gd name="T62" fmla="*/ 218 w 246"/>
                  <a:gd name="T63" fmla="*/ 0 h 42"/>
                  <a:gd name="T64" fmla="*/ 223 w 246"/>
                  <a:gd name="T65" fmla="*/ 0 h 42"/>
                  <a:gd name="T66" fmla="*/ 229 w 246"/>
                  <a:gd name="T67" fmla="*/ 1 h 42"/>
                  <a:gd name="T68" fmla="*/ 234 w 246"/>
                  <a:gd name="T69" fmla="*/ 4 h 42"/>
                  <a:gd name="T70" fmla="*/ 237 w 246"/>
                  <a:gd name="T71" fmla="*/ 7 h 42"/>
                  <a:gd name="T72" fmla="*/ 240 w 246"/>
                  <a:gd name="T73" fmla="*/ 9 h 42"/>
                  <a:gd name="T74" fmla="*/ 244 w 246"/>
                  <a:gd name="T75" fmla="*/ 13 h 42"/>
                  <a:gd name="T76" fmla="*/ 245 w 246"/>
                  <a:gd name="T77" fmla="*/ 17 h 42"/>
                  <a:gd name="T78" fmla="*/ 246 w 246"/>
                  <a:gd name="T79" fmla="*/ 21 h 42"/>
                  <a:gd name="T80" fmla="*/ 246 w 246"/>
                  <a:gd name="T81"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6" h="42">
                    <a:moveTo>
                      <a:pt x="246" y="21"/>
                    </a:moveTo>
                    <a:lnTo>
                      <a:pt x="246" y="21"/>
                    </a:lnTo>
                    <a:lnTo>
                      <a:pt x="245" y="26"/>
                    </a:lnTo>
                    <a:lnTo>
                      <a:pt x="244" y="29"/>
                    </a:lnTo>
                    <a:lnTo>
                      <a:pt x="240" y="33"/>
                    </a:lnTo>
                    <a:lnTo>
                      <a:pt x="237" y="36"/>
                    </a:lnTo>
                    <a:lnTo>
                      <a:pt x="234" y="38"/>
                    </a:lnTo>
                    <a:lnTo>
                      <a:pt x="229" y="41"/>
                    </a:lnTo>
                    <a:lnTo>
                      <a:pt x="223" y="42"/>
                    </a:lnTo>
                    <a:lnTo>
                      <a:pt x="218" y="42"/>
                    </a:lnTo>
                    <a:lnTo>
                      <a:pt x="28" y="42"/>
                    </a:lnTo>
                    <a:lnTo>
                      <a:pt x="28" y="42"/>
                    </a:lnTo>
                    <a:lnTo>
                      <a:pt x="23" y="42"/>
                    </a:lnTo>
                    <a:lnTo>
                      <a:pt x="17" y="41"/>
                    </a:lnTo>
                    <a:lnTo>
                      <a:pt x="13" y="38"/>
                    </a:lnTo>
                    <a:lnTo>
                      <a:pt x="9" y="36"/>
                    </a:lnTo>
                    <a:lnTo>
                      <a:pt x="6" y="33"/>
                    </a:lnTo>
                    <a:lnTo>
                      <a:pt x="2" y="29"/>
                    </a:lnTo>
                    <a:lnTo>
                      <a:pt x="1" y="26"/>
                    </a:lnTo>
                    <a:lnTo>
                      <a:pt x="0" y="21"/>
                    </a:lnTo>
                    <a:lnTo>
                      <a:pt x="0" y="21"/>
                    </a:lnTo>
                    <a:lnTo>
                      <a:pt x="0" y="21"/>
                    </a:lnTo>
                    <a:lnTo>
                      <a:pt x="1" y="17"/>
                    </a:lnTo>
                    <a:lnTo>
                      <a:pt x="2" y="13"/>
                    </a:lnTo>
                    <a:lnTo>
                      <a:pt x="6" y="9"/>
                    </a:lnTo>
                    <a:lnTo>
                      <a:pt x="9" y="7"/>
                    </a:lnTo>
                    <a:lnTo>
                      <a:pt x="13" y="4"/>
                    </a:lnTo>
                    <a:lnTo>
                      <a:pt x="17" y="1"/>
                    </a:lnTo>
                    <a:lnTo>
                      <a:pt x="23" y="0"/>
                    </a:lnTo>
                    <a:lnTo>
                      <a:pt x="28" y="0"/>
                    </a:lnTo>
                    <a:lnTo>
                      <a:pt x="218" y="0"/>
                    </a:lnTo>
                    <a:lnTo>
                      <a:pt x="218" y="0"/>
                    </a:lnTo>
                    <a:lnTo>
                      <a:pt x="223" y="0"/>
                    </a:lnTo>
                    <a:lnTo>
                      <a:pt x="229" y="1"/>
                    </a:lnTo>
                    <a:lnTo>
                      <a:pt x="234" y="4"/>
                    </a:lnTo>
                    <a:lnTo>
                      <a:pt x="237" y="7"/>
                    </a:lnTo>
                    <a:lnTo>
                      <a:pt x="240" y="9"/>
                    </a:lnTo>
                    <a:lnTo>
                      <a:pt x="244" y="13"/>
                    </a:lnTo>
                    <a:lnTo>
                      <a:pt x="245" y="17"/>
                    </a:lnTo>
                    <a:lnTo>
                      <a:pt x="246" y="21"/>
                    </a:lnTo>
                    <a:lnTo>
                      <a:pt x="246" y="2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7" name="Freeform 80"/>
              <p:cNvSpPr>
                <a:spLocks/>
              </p:cNvSpPr>
              <p:nvPr/>
            </p:nvSpPr>
            <p:spPr bwMode="auto">
              <a:xfrm>
                <a:off x="5410267" y="4661730"/>
                <a:ext cx="390525" cy="65088"/>
              </a:xfrm>
              <a:custGeom>
                <a:avLst/>
                <a:gdLst>
                  <a:gd name="T0" fmla="*/ 246 w 246"/>
                  <a:gd name="T1" fmla="*/ 21 h 41"/>
                  <a:gd name="T2" fmla="*/ 246 w 246"/>
                  <a:gd name="T3" fmla="*/ 21 h 41"/>
                  <a:gd name="T4" fmla="*/ 245 w 246"/>
                  <a:gd name="T5" fmla="*/ 25 h 41"/>
                  <a:gd name="T6" fmla="*/ 244 w 246"/>
                  <a:gd name="T7" fmla="*/ 28 h 41"/>
                  <a:gd name="T8" fmla="*/ 240 w 246"/>
                  <a:gd name="T9" fmla="*/ 33 h 41"/>
                  <a:gd name="T10" fmla="*/ 237 w 246"/>
                  <a:gd name="T11" fmla="*/ 36 h 41"/>
                  <a:gd name="T12" fmla="*/ 234 w 246"/>
                  <a:gd name="T13" fmla="*/ 38 h 41"/>
                  <a:gd name="T14" fmla="*/ 229 w 246"/>
                  <a:gd name="T15" fmla="*/ 40 h 41"/>
                  <a:gd name="T16" fmla="*/ 223 w 246"/>
                  <a:gd name="T17" fmla="*/ 41 h 41"/>
                  <a:gd name="T18" fmla="*/ 218 w 246"/>
                  <a:gd name="T19" fmla="*/ 41 h 41"/>
                  <a:gd name="T20" fmla="*/ 28 w 246"/>
                  <a:gd name="T21" fmla="*/ 41 h 41"/>
                  <a:gd name="T22" fmla="*/ 28 w 246"/>
                  <a:gd name="T23" fmla="*/ 41 h 41"/>
                  <a:gd name="T24" fmla="*/ 23 w 246"/>
                  <a:gd name="T25" fmla="*/ 41 h 41"/>
                  <a:gd name="T26" fmla="*/ 17 w 246"/>
                  <a:gd name="T27" fmla="*/ 40 h 41"/>
                  <a:gd name="T28" fmla="*/ 13 w 246"/>
                  <a:gd name="T29" fmla="*/ 38 h 41"/>
                  <a:gd name="T30" fmla="*/ 9 w 246"/>
                  <a:gd name="T31" fmla="*/ 36 h 41"/>
                  <a:gd name="T32" fmla="*/ 6 w 246"/>
                  <a:gd name="T33" fmla="*/ 33 h 41"/>
                  <a:gd name="T34" fmla="*/ 2 w 246"/>
                  <a:gd name="T35" fmla="*/ 28 h 41"/>
                  <a:gd name="T36" fmla="*/ 1 w 246"/>
                  <a:gd name="T37" fmla="*/ 25 h 41"/>
                  <a:gd name="T38" fmla="*/ 0 w 246"/>
                  <a:gd name="T39" fmla="*/ 21 h 41"/>
                  <a:gd name="T40" fmla="*/ 0 w 246"/>
                  <a:gd name="T41" fmla="*/ 21 h 41"/>
                  <a:gd name="T42" fmla="*/ 0 w 246"/>
                  <a:gd name="T43" fmla="*/ 21 h 41"/>
                  <a:gd name="T44" fmla="*/ 1 w 246"/>
                  <a:gd name="T45" fmla="*/ 17 h 41"/>
                  <a:gd name="T46" fmla="*/ 2 w 246"/>
                  <a:gd name="T47" fmla="*/ 13 h 41"/>
                  <a:gd name="T48" fmla="*/ 6 w 246"/>
                  <a:gd name="T49" fmla="*/ 8 h 41"/>
                  <a:gd name="T50" fmla="*/ 9 w 246"/>
                  <a:gd name="T51" fmla="*/ 6 h 41"/>
                  <a:gd name="T52" fmla="*/ 13 w 246"/>
                  <a:gd name="T53" fmla="*/ 3 h 41"/>
                  <a:gd name="T54" fmla="*/ 17 w 246"/>
                  <a:gd name="T55" fmla="*/ 1 h 41"/>
                  <a:gd name="T56" fmla="*/ 23 w 246"/>
                  <a:gd name="T57" fmla="*/ 0 h 41"/>
                  <a:gd name="T58" fmla="*/ 28 w 246"/>
                  <a:gd name="T59" fmla="*/ 0 h 41"/>
                  <a:gd name="T60" fmla="*/ 218 w 246"/>
                  <a:gd name="T61" fmla="*/ 0 h 41"/>
                  <a:gd name="T62" fmla="*/ 218 w 246"/>
                  <a:gd name="T63" fmla="*/ 0 h 41"/>
                  <a:gd name="T64" fmla="*/ 223 w 246"/>
                  <a:gd name="T65" fmla="*/ 0 h 41"/>
                  <a:gd name="T66" fmla="*/ 229 w 246"/>
                  <a:gd name="T67" fmla="*/ 1 h 41"/>
                  <a:gd name="T68" fmla="*/ 234 w 246"/>
                  <a:gd name="T69" fmla="*/ 3 h 41"/>
                  <a:gd name="T70" fmla="*/ 237 w 246"/>
                  <a:gd name="T71" fmla="*/ 6 h 41"/>
                  <a:gd name="T72" fmla="*/ 240 w 246"/>
                  <a:gd name="T73" fmla="*/ 8 h 41"/>
                  <a:gd name="T74" fmla="*/ 244 w 246"/>
                  <a:gd name="T75" fmla="*/ 13 h 41"/>
                  <a:gd name="T76" fmla="*/ 245 w 246"/>
                  <a:gd name="T77" fmla="*/ 17 h 41"/>
                  <a:gd name="T78" fmla="*/ 246 w 246"/>
                  <a:gd name="T79" fmla="*/ 21 h 41"/>
                  <a:gd name="T80" fmla="*/ 246 w 246"/>
                  <a:gd name="T81"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6" h="41">
                    <a:moveTo>
                      <a:pt x="246" y="21"/>
                    </a:moveTo>
                    <a:lnTo>
                      <a:pt x="246" y="21"/>
                    </a:lnTo>
                    <a:lnTo>
                      <a:pt x="245" y="25"/>
                    </a:lnTo>
                    <a:lnTo>
                      <a:pt x="244" y="28"/>
                    </a:lnTo>
                    <a:lnTo>
                      <a:pt x="240" y="33"/>
                    </a:lnTo>
                    <a:lnTo>
                      <a:pt x="237" y="36"/>
                    </a:lnTo>
                    <a:lnTo>
                      <a:pt x="234" y="38"/>
                    </a:lnTo>
                    <a:lnTo>
                      <a:pt x="229" y="40"/>
                    </a:lnTo>
                    <a:lnTo>
                      <a:pt x="223" y="41"/>
                    </a:lnTo>
                    <a:lnTo>
                      <a:pt x="218" y="41"/>
                    </a:lnTo>
                    <a:lnTo>
                      <a:pt x="28" y="41"/>
                    </a:lnTo>
                    <a:lnTo>
                      <a:pt x="28" y="41"/>
                    </a:lnTo>
                    <a:lnTo>
                      <a:pt x="23" y="41"/>
                    </a:lnTo>
                    <a:lnTo>
                      <a:pt x="17" y="40"/>
                    </a:lnTo>
                    <a:lnTo>
                      <a:pt x="13" y="38"/>
                    </a:lnTo>
                    <a:lnTo>
                      <a:pt x="9" y="36"/>
                    </a:lnTo>
                    <a:lnTo>
                      <a:pt x="6" y="33"/>
                    </a:lnTo>
                    <a:lnTo>
                      <a:pt x="2" y="28"/>
                    </a:lnTo>
                    <a:lnTo>
                      <a:pt x="1" y="25"/>
                    </a:lnTo>
                    <a:lnTo>
                      <a:pt x="0" y="21"/>
                    </a:lnTo>
                    <a:lnTo>
                      <a:pt x="0" y="21"/>
                    </a:lnTo>
                    <a:lnTo>
                      <a:pt x="0" y="21"/>
                    </a:lnTo>
                    <a:lnTo>
                      <a:pt x="1" y="17"/>
                    </a:lnTo>
                    <a:lnTo>
                      <a:pt x="2" y="13"/>
                    </a:lnTo>
                    <a:lnTo>
                      <a:pt x="6" y="8"/>
                    </a:lnTo>
                    <a:lnTo>
                      <a:pt x="9" y="6"/>
                    </a:lnTo>
                    <a:lnTo>
                      <a:pt x="13" y="3"/>
                    </a:lnTo>
                    <a:lnTo>
                      <a:pt x="17" y="1"/>
                    </a:lnTo>
                    <a:lnTo>
                      <a:pt x="23" y="0"/>
                    </a:lnTo>
                    <a:lnTo>
                      <a:pt x="28" y="0"/>
                    </a:lnTo>
                    <a:lnTo>
                      <a:pt x="218" y="0"/>
                    </a:lnTo>
                    <a:lnTo>
                      <a:pt x="218" y="0"/>
                    </a:lnTo>
                    <a:lnTo>
                      <a:pt x="223" y="0"/>
                    </a:lnTo>
                    <a:lnTo>
                      <a:pt x="229" y="1"/>
                    </a:lnTo>
                    <a:lnTo>
                      <a:pt x="234" y="3"/>
                    </a:lnTo>
                    <a:lnTo>
                      <a:pt x="237" y="6"/>
                    </a:lnTo>
                    <a:lnTo>
                      <a:pt x="240" y="8"/>
                    </a:lnTo>
                    <a:lnTo>
                      <a:pt x="244" y="13"/>
                    </a:lnTo>
                    <a:lnTo>
                      <a:pt x="245" y="17"/>
                    </a:lnTo>
                    <a:lnTo>
                      <a:pt x="246" y="21"/>
                    </a:lnTo>
                    <a:lnTo>
                      <a:pt x="246" y="2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8" name="Freeform 81"/>
              <p:cNvSpPr>
                <a:spLocks/>
              </p:cNvSpPr>
              <p:nvPr/>
            </p:nvSpPr>
            <p:spPr bwMode="auto">
              <a:xfrm>
                <a:off x="5494405" y="4737930"/>
                <a:ext cx="220663" cy="65088"/>
              </a:xfrm>
              <a:custGeom>
                <a:avLst/>
                <a:gdLst>
                  <a:gd name="T0" fmla="*/ 139 w 139"/>
                  <a:gd name="T1" fmla="*/ 0 h 41"/>
                  <a:gd name="T2" fmla="*/ 139 w 139"/>
                  <a:gd name="T3" fmla="*/ 0 h 41"/>
                  <a:gd name="T4" fmla="*/ 139 w 139"/>
                  <a:gd name="T5" fmla="*/ 4 h 41"/>
                  <a:gd name="T6" fmla="*/ 138 w 139"/>
                  <a:gd name="T7" fmla="*/ 8 h 41"/>
                  <a:gd name="T8" fmla="*/ 136 w 139"/>
                  <a:gd name="T9" fmla="*/ 12 h 41"/>
                  <a:gd name="T10" fmla="*/ 133 w 139"/>
                  <a:gd name="T11" fmla="*/ 15 h 41"/>
                  <a:gd name="T12" fmla="*/ 127 w 139"/>
                  <a:gd name="T13" fmla="*/ 23 h 41"/>
                  <a:gd name="T14" fmla="*/ 119 w 139"/>
                  <a:gd name="T15" fmla="*/ 29 h 41"/>
                  <a:gd name="T16" fmla="*/ 108 w 139"/>
                  <a:gd name="T17" fmla="*/ 34 h 41"/>
                  <a:gd name="T18" fmla="*/ 96 w 139"/>
                  <a:gd name="T19" fmla="*/ 38 h 41"/>
                  <a:gd name="T20" fmla="*/ 84 w 139"/>
                  <a:gd name="T21" fmla="*/ 40 h 41"/>
                  <a:gd name="T22" fmla="*/ 69 w 139"/>
                  <a:gd name="T23" fmla="*/ 41 h 41"/>
                  <a:gd name="T24" fmla="*/ 69 w 139"/>
                  <a:gd name="T25" fmla="*/ 41 h 41"/>
                  <a:gd name="T26" fmla="*/ 55 w 139"/>
                  <a:gd name="T27" fmla="*/ 40 h 41"/>
                  <a:gd name="T28" fmla="*/ 43 w 139"/>
                  <a:gd name="T29" fmla="*/ 38 h 41"/>
                  <a:gd name="T30" fmla="*/ 31 w 139"/>
                  <a:gd name="T31" fmla="*/ 34 h 41"/>
                  <a:gd name="T32" fmla="*/ 20 w 139"/>
                  <a:gd name="T33" fmla="*/ 29 h 41"/>
                  <a:gd name="T34" fmla="*/ 12 w 139"/>
                  <a:gd name="T35" fmla="*/ 23 h 41"/>
                  <a:gd name="T36" fmla="*/ 6 w 139"/>
                  <a:gd name="T37" fmla="*/ 15 h 41"/>
                  <a:gd name="T38" fmla="*/ 3 w 139"/>
                  <a:gd name="T39" fmla="*/ 12 h 41"/>
                  <a:gd name="T40" fmla="*/ 1 w 139"/>
                  <a:gd name="T41" fmla="*/ 8 h 41"/>
                  <a:gd name="T42" fmla="*/ 0 w 139"/>
                  <a:gd name="T43" fmla="*/ 4 h 41"/>
                  <a:gd name="T44" fmla="*/ 0 w 139"/>
                  <a:gd name="T45" fmla="*/ 0 h 41"/>
                  <a:gd name="T46" fmla="*/ 139 w 139"/>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9" h="41">
                    <a:moveTo>
                      <a:pt x="139" y="0"/>
                    </a:moveTo>
                    <a:lnTo>
                      <a:pt x="139" y="0"/>
                    </a:lnTo>
                    <a:lnTo>
                      <a:pt x="139" y="4"/>
                    </a:lnTo>
                    <a:lnTo>
                      <a:pt x="138" y="8"/>
                    </a:lnTo>
                    <a:lnTo>
                      <a:pt x="136" y="12"/>
                    </a:lnTo>
                    <a:lnTo>
                      <a:pt x="133" y="15"/>
                    </a:lnTo>
                    <a:lnTo>
                      <a:pt x="127" y="23"/>
                    </a:lnTo>
                    <a:lnTo>
                      <a:pt x="119" y="29"/>
                    </a:lnTo>
                    <a:lnTo>
                      <a:pt x="108" y="34"/>
                    </a:lnTo>
                    <a:lnTo>
                      <a:pt x="96" y="38"/>
                    </a:lnTo>
                    <a:lnTo>
                      <a:pt x="84" y="40"/>
                    </a:lnTo>
                    <a:lnTo>
                      <a:pt x="69" y="41"/>
                    </a:lnTo>
                    <a:lnTo>
                      <a:pt x="69" y="41"/>
                    </a:lnTo>
                    <a:lnTo>
                      <a:pt x="55" y="40"/>
                    </a:lnTo>
                    <a:lnTo>
                      <a:pt x="43" y="38"/>
                    </a:lnTo>
                    <a:lnTo>
                      <a:pt x="31" y="34"/>
                    </a:lnTo>
                    <a:lnTo>
                      <a:pt x="20" y="29"/>
                    </a:lnTo>
                    <a:lnTo>
                      <a:pt x="12" y="23"/>
                    </a:lnTo>
                    <a:lnTo>
                      <a:pt x="6" y="15"/>
                    </a:lnTo>
                    <a:lnTo>
                      <a:pt x="3" y="12"/>
                    </a:lnTo>
                    <a:lnTo>
                      <a:pt x="1" y="8"/>
                    </a:lnTo>
                    <a:lnTo>
                      <a:pt x="0" y="4"/>
                    </a:lnTo>
                    <a:lnTo>
                      <a:pt x="0" y="0"/>
                    </a:lnTo>
                    <a:lnTo>
                      <a:pt x="139"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79" name="Freeform 82"/>
              <p:cNvSpPr>
                <a:spLocks noEditPoints="1"/>
              </p:cNvSpPr>
              <p:nvPr/>
            </p:nvSpPr>
            <p:spPr bwMode="auto">
              <a:xfrm>
                <a:off x="4961005" y="2939293"/>
                <a:ext cx="1289050" cy="1549400"/>
              </a:xfrm>
              <a:custGeom>
                <a:avLst/>
                <a:gdLst>
                  <a:gd name="T0" fmla="*/ 365 w 812"/>
                  <a:gd name="T1" fmla="*/ 2 h 976"/>
                  <a:gd name="T2" fmla="*/ 285 w 812"/>
                  <a:gd name="T3" fmla="*/ 18 h 976"/>
                  <a:gd name="T4" fmla="*/ 213 w 812"/>
                  <a:gd name="T5" fmla="*/ 49 h 976"/>
                  <a:gd name="T6" fmla="*/ 148 w 812"/>
                  <a:gd name="T7" fmla="*/ 93 h 976"/>
                  <a:gd name="T8" fmla="*/ 93 w 812"/>
                  <a:gd name="T9" fmla="*/ 148 h 976"/>
                  <a:gd name="T10" fmla="*/ 50 w 812"/>
                  <a:gd name="T11" fmla="*/ 213 h 976"/>
                  <a:gd name="T12" fmla="*/ 19 w 812"/>
                  <a:gd name="T13" fmla="*/ 286 h 976"/>
                  <a:gd name="T14" fmla="*/ 2 w 812"/>
                  <a:gd name="T15" fmla="*/ 364 h 976"/>
                  <a:gd name="T16" fmla="*/ 1 w 812"/>
                  <a:gd name="T17" fmla="*/ 425 h 976"/>
                  <a:gd name="T18" fmla="*/ 12 w 812"/>
                  <a:gd name="T19" fmla="*/ 500 h 976"/>
                  <a:gd name="T20" fmla="*/ 35 w 812"/>
                  <a:gd name="T21" fmla="*/ 570 h 976"/>
                  <a:gd name="T22" fmla="*/ 71 w 812"/>
                  <a:gd name="T23" fmla="*/ 633 h 976"/>
                  <a:gd name="T24" fmla="*/ 104 w 812"/>
                  <a:gd name="T25" fmla="*/ 677 h 976"/>
                  <a:gd name="T26" fmla="*/ 124 w 812"/>
                  <a:gd name="T27" fmla="*/ 697 h 976"/>
                  <a:gd name="T28" fmla="*/ 195 w 812"/>
                  <a:gd name="T29" fmla="*/ 780 h 976"/>
                  <a:gd name="T30" fmla="*/ 224 w 812"/>
                  <a:gd name="T31" fmla="*/ 827 h 976"/>
                  <a:gd name="T32" fmla="*/ 247 w 812"/>
                  <a:gd name="T33" fmla="*/ 895 h 976"/>
                  <a:gd name="T34" fmla="*/ 266 w 812"/>
                  <a:gd name="T35" fmla="*/ 942 h 976"/>
                  <a:gd name="T36" fmla="*/ 303 w 812"/>
                  <a:gd name="T37" fmla="*/ 972 h 976"/>
                  <a:gd name="T38" fmla="*/ 417 w 812"/>
                  <a:gd name="T39" fmla="*/ 976 h 976"/>
                  <a:gd name="T40" fmla="*/ 509 w 812"/>
                  <a:gd name="T41" fmla="*/ 972 h 976"/>
                  <a:gd name="T42" fmla="*/ 546 w 812"/>
                  <a:gd name="T43" fmla="*/ 942 h 976"/>
                  <a:gd name="T44" fmla="*/ 565 w 812"/>
                  <a:gd name="T45" fmla="*/ 895 h 976"/>
                  <a:gd name="T46" fmla="*/ 588 w 812"/>
                  <a:gd name="T47" fmla="*/ 827 h 976"/>
                  <a:gd name="T48" fmla="*/ 616 w 812"/>
                  <a:gd name="T49" fmla="*/ 781 h 976"/>
                  <a:gd name="T50" fmla="*/ 685 w 812"/>
                  <a:gd name="T51" fmla="*/ 700 h 976"/>
                  <a:gd name="T52" fmla="*/ 738 w 812"/>
                  <a:gd name="T53" fmla="*/ 639 h 976"/>
                  <a:gd name="T54" fmla="*/ 777 w 812"/>
                  <a:gd name="T55" fmla="*/ 569 h 976"/>
                  <a:gd name="T56" fmla="*/ 802 w 812"/>
                  <a:gd name="T57" fmla="*/ 491 h 976"/>
                  <a:gd name="T58" fmla="*/ 812 w 812"/>
                  <a:gd name="T59" fmla="*/ 406 h 976"/>
                  <a:gd name="T60" fmla="*/ 807 w 812"/>
                  <a:gd name="T61" fmla="*/ 344 h 976"/>
                  <a:gd name="T62" fmla="*/ 787 w 812"/>
                  <a:gd name="T63" fmla="*/ 267 h 976"/>
                  <a:gd name="T64" fmla="*/ 753 w 812"/>
                  <a:gd name="T65" fmla="*/ 196 h 976"/>
                  <a:gd name="T66" fmla="*/ 706 w 812"/>
                  <a:gd name="T67" fmla="*/ 133 h 976"/>
                  <a:gd name="T68" fmla="*/ 649 w 812"/>
                  <a:gd name="T69" fmla="*/ 80 h 976"/>
                  <a:gd name="T70" fmla="*/ 582 w 812"/>
                  <a:gd name="T71" fmla="*/ 40 h 976"/>
                  <a:gd name="T72" fmla="*/ 508 w 812"/>
                  <a:gd name="T73" fmla="*/ 13 h 976"/>
                  <a:gd name="T74" fmla="*/ 427 w 812"/>
                  <a:gd name="T75" fmla="*/ 1 h 976"/>
                  <a:gd name="T76" fmla="*/ 557 w 812"/>
                  <a:gd name="T77" fmla="*/ 587 h 976"/>
                  <a:gd name="T78" fmla="*/ 509 w 812"/>
                  <a:gd name="T79" fmla="*/ 652 h 976"/>
                  <a:gd name="T80" fmla="*/ 496 w 812"/>
                  <a:gd name="T81" fmla="*/ 683 h 976"/>
                  <a:gd name="T82" fmla="*/ 482 w 812"/>
                  <a:gd name="T83" fmla="*/ 726 h 976"/>
                  <a:gd name="T84" fmla="*/ 461 w 812"/>
                  <a:gd name="T85" fmla="*/ 743 h 976"/>
                  <a:gd name="T86" fmla="*/ 401 w 812"/>
                  <a:gd name="T87" fmla="*/ 746 h 976"/>
                  <a:gd name="T88" fmla="*/ 350 w 812"/>
                  <a:gd name="T89" fmla="*/ 743 h 976"/>
                  <a:gd name="T90" fmla="*/ 330 w 812"/>
                  <a:gd name="T91" fmla="*/ 726 h 976"/>
                  <a:gd name="T92" fmla="*/ 316 w 812"/>
                  <a:gd name="T93" fmla="*/ 683 h 976"/>
                  <a:gd name="T94" fmla="*/ 303 w 812"/>
                  <a:gd name="T95" fmla="*/ 652 h 976"/>
                  <a:gd name="T96" fmla="*/ 253 w 812"/>
                  <a:gd name="T97" fmla="*/ 585 h 976"/>
                  <a:gd name="T98" fmla="*/ 242 w 812"/>
                  <a:gd name="T99" fmla="*/ 573 h 976"/>
                  <a:gd name="T100" fmla="*/ 219 w 812"/>
                  <a:gd name="T101" fmla="*/ 540 h 976"/>
                  <a:gd name="T102" fmla="*/ 190 w 812"/>
                  <a:gd name="T103" fmla="*/ 461 h 976"/>
                  <a:gd name="T104" fmla="*/ 188 w 812"/>
                  <a:gd name="T105" fmla="*/ 393 h 976"/>
                  <a:gd name="T106" fmla="*/ 214 w 812"/>
                  <a:gd name="T107" fmla="*/ 307 h 976"/>
                  <a:gd name="T108" fmla="*/ 266 w 812"/>
                  <a:gd name="T109" fmla="*/ 237 h 976"/>
                  <a:gd name="T110" fmla="*/ 340 w 812"/>
                  <a:gd name="T111" fmla="*/ 195 h 976"/>
                  <a:gd name="T112" fmla="*/ 406 w 812"/>
                  <a:gd name="T113" fmla="*/ 184 h 976"/>
                  <a:gd name="T114" fmla="*/ 492 w 812"/>
                  <a:gd name="T115" fmla="*/ 202 h 976"/>
                  <a:gd name="T116" fmla="*/ 561 w 812"/>
                  <a:gd name="T117" fmla="*/ 253 h 976"/>
                  <a:gd name="T118" fmla="*/ 608 w 812"/>
                  <a:gd name="T119" fmla="*/ 327 h 976"/>
                  <a:gd name="T120" fmla="*/ 626 w 812"/>
                  <a:gd name="T121" fmla="*/ 418 h 976"/>
                  <a:gd name="T122" fmla="*/ 615 w 812"/>
                  <a:gd name="T123" fmla="*/ 490 h 976"/>
                  <a:gd name="T124" fmla="*/ 572 w 812"/>
                  <a:gd name="T125" fmla="*/ 57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2" h="976">
                    <a:moveTo>
                      <a:pt x="406" y="0"/>
                    </a:moveTo>
                    <a:lnTo>
                      <a:pt x="406" y="0"/>
                    </a:lnTo>
                    <a:lnTo>
                      <a:pt x="385" y="1"/>
                    </a:lnTo>
                    <a:lnTo>
                      <a:pt x="365" y="2"/>
                    </a:lnTo>
                    <a:lnTo>
                      <a:pt x="345" y="5"/>
                    </a:lnTo>
                    <a:lnTo>
                      <a:pt x="325" y="9"/>
                    </a:lnTo>
                    <a:lnTo>
                      <a:pt x="304" y="13"/>
                    </a:lnTo>
                    <a:lnTo>
                      <a:pt x="285" y="18"/>
                    </a:lnTo>
                    <a:lnTo>
                      <a:pt x="266" y="24"/>
                    </a:lnTo>
                    <a:lnTo>
                      <a:pt x="248" y="32"/>
                    </a:lnTo>
                    <a:lnTo>
                      <a:pt x="230" y="40"/>
                    </a:lnTo>
                    <a:lnTo>
                      <a:pt x="213" y="49"/>
                    </a:lnTo>
                    <a:lnTo>
                      <a:pt x="196" y="59"/>
                    </a:lnTo>
                    <a:lnTo>
                      <a:pt x="180" y="70"/>
                    </a:lnTo>
                    <a:lnTo>
                      <a:pt x="164" y="80"/>
                    </a:lnTo>
                    <a:lnTo>
                      <a:pt x="148" y="93"/>
                    </a:lnTo>
                    <a:lnTo>
                      <a:pt x="133" y="106"/>
                    </a:lnTo>
                    <a:lnTo>
                      <a:pt x="119" y="120"/>
                    </a:lnTo>
                    <a:lnTo>
                      <a:pt x="106" y="133"/>
                    </a:lnTo>
                    <a:lnTo>
                      <a:pt x="93" y="148"/>
                    </a:lnTo>
                    <a:lnTo>
                      <a:pt x="81" y="163"/>
                    </a:lnTo>
                    <a:lnTo>
                      <a:pt x="70" y="179"/>
                    </a:lnTo>
                    <a:lnTo>
                      <a:pt x="59" y="196"/>
                    </a:lnTo>
                    <a:lnTo>
                      <a:pt x="50" y="213"/>
                    </a:lnTo>
                    <a:lnTo>
                      <a:pt x="40" y="230"/>
                    </a:lnTo>
                    <a:lnTo>
                      <a:pt x="33" y="247"/>
                    </a:lnTo>
                    <a:lnTo>
                      <a:pt x="25" y="267"/>
                    </a:lnTo>
                    <a:lnTo>
                      <a:pt x="19" y="286"/>
                    </a:lnTo>
                    <a:lnTo>
                      <a:pt x="14" y="305"/>
                    </a:lnTo>
                    <a:lnTo>
                      <a:pt x="8" y="324"/>
                    </a:lnTo>
                    <a:lnTo>
                      <a:pt x="5" y="344"/>
                    </a:lnTo>
                    <a:lnTo>
                      <a:pt x="2" y="364"/>
                    </a:lnTo>
                    <a:lnTo>
                      <a:pt x="1" y="385"/>
                    </a:lnTo>
                    <a:lnTo>
                      <a:pt x="0" y="406"/>
                    </a:lnTo>
                    <a:lnTo>
                      <a:pt x="0" y="406"/>
                    </a:lnTo>
                    <a:lnTo>
                      <a:pt x="1" y="425"/>
                    </a:lnTo>
                    <a:lnTo>
                      <a:pt x="2" y="444"/>
                    </a:lnTo>
                    <a:lnTo>
                      <a:pt x="4" y="463"/>
                    </a:lnTo>
                    <a:lnTo>
                      <a:pt x="7" y="482"/>
                    </a:lnTo>
                    <a:lnTo>
                      <a:pt x="12" y="500"/>
                    </a:lnTo>
                    <a:lnTo>
                      <a:pt x="16" y="518"/>
                    </a:lnTo>
                    <a:lnTo>
                      <a:pt x="22" y="536"/>
                    </a:lnTo>
                    <a:lnTo>
                      <a:pt x="29" y="553"/>
                    </a:lnTo>
                    <a:lnTo>
                      <a:pt x="35" y="570"/>
                    </a:lnTo>
                    <a:lnTo>
                      <a:pt x="43" y="587"/>
                    </a:lnTo>
                    <a:lnTo>
                      <a:pt x="52" y="603"/>
                    </a:lnTo>
                    <a:lnTo>
                      <a:pt x="60" y="619"/>
                    </a:lnTo>
                    <a:lnTo>
                      <a:pt x="71" y="633"/>
                    </a:lnTo>
                    <a:lnTo>
                      <a:pt x="81" y="648"/>
                    </a:lnTo>
                    <a:lnTo>
                      <a:pt x="92" y="663"/>
                    </a:lnTo>
                    <a:lnTo>
                      <a:pt x="104" y="677"/>
                    </a:lnTo>
                    <a:lnTo>
                      <a:pt x="104" y="677"/>
                    </a:lnTo>
                    <a:lnTo>
                      <a:pt x="104" y="677"/>
                    </a:lnTo>
                    <a:lnTo>
                      <a:pt x="106" y="678"/>
                    </a:lnTo>
                    <a:lnTo>
                      <a:pt x="106" y="678"/>
                    </a:lnTo>
                    <a:lnTo>
                      <a:pt x="124" y="697"/>
                    </a:lnTo>
                    <a:lnTo>
                      <a:pt x="124" y="697"/>
                    </a:lnTo>
                    <a:lnTo>
                      <a:pt x="145" y="719"/>
                    </a:lnTo>
                    <a:lnTo>
                      <a:pt x="169" y="748"/>
                    </a:lnTo>
                    <a:lnTo>
                      <a:pt x="195" y="780"/>
                    </a:lnTo>
                    <a:lnTo>
                      <a:pt x="206" y="796"/>
                    </a:lnTo>
                    <a:lnTo>
                      <a:pt x="217" y="813"/>
                    </a:lnTo>
                    <a:lnTo>
                      <a:pt x="217" y="813"/>
                    </a:lnTo>
                    <a:lnTo>
                      <a:pt x="224" y="827"/>
                    </a:lnTo>
                    <a:lnTo>
                      <a:pt x="230" y="840"/>
                    </a:lnTo>
                    <a:lnTo>
                      <a:pt x="235" y="853"/>
                    </a:lnTo>
                    <a:lnTo>
                      <a:pt x="240" y="867"/>
                    </a:lnTo>
                    <a:lnTo>
                      <a:pt x="247" y="895"/>
                    </a:lnTo>
                    <a:lnTo>
                      <a:pt x="251" y="907"/>
                    </a:lnTo>
                    <a:lnTo>
                      <a:pt x="255" y="920"/>
                    </a:lnTo>
                    <a:lnTo>
                      <a:pt x="260" y="932"/>
                    </a:lnTo>
                    <a:lnTo>
                      <a:pt x="266" y="942"/>
                    </a:lnTo>
                    <a:lnTo>
                      <a:pt x="273" y="952"/>
                    </a:lnTo>
                    <a:lnTo>
                      <a:pt x="281" y="960"/>
                    </a:lnTo>
                    <a:lnTo>
                      <a:pt x="292" y="967"/>
                    </a:lnTo>
                    <a:lnTo>
                      <a:pt x="303" y="972"/>
                    </a:lnTo>
                    <a:lnTo>
                      <a:pt x="317" y="975"/>
                    </a:lnTo>
                    <a:lnTo>
                      <a:pt x="334" y="976"/>
                    </a:lnTo>
                    <a:lnTo>
                      <a:pt x="395" y="976"/>
                    </a:lnTo>
                    <a:lnTo>
                      <a:pt x="417" y="976"/>
                    </a:lnTo>
                    <a:lnTo>
                      <a:pt x="478" y="976"/>
                    </a:lnTo>
                    <a:lnTo>
                      <a:pt x="478" y="976"/>
                    </a:lnTo>
                    <a:lnTo>
                      <a:pt x="494" y="975"/>
                    </a:lnTo>
                    <a:lnTo>
                      <a:pt x="509" y="972"/>
                    </a:lnTo>
                    <a:lnTo>
                      <a:pt x="520" y="967"/>
                    </a:lnTo>
                    <a:lnTo>
                      <a:pt x="531" y="960"/>
                    </a:lnTo>
                    <a:lnTo>
                      <a:pt x="539" y="952"/>
                    </a:lnTo>
                    <a:lnTo>
                      <a:pt x="546" y="942"/>
                    </a:lnTo>
                    <a:lnTo>
                      <a:pt x="552" y="932"/>
                    </a:lnTo>
                    <a:lnTo>
                      <a:pt x="556" y="920"/>
                    </a:lnTo>
                    <a:lnTo>
                      <a:pt x="560" y="907"/>
                    </a:lnTo>
                    <a:lnTo>
                      <a:pt x="565" y="895"/>
                    </a:lnTo>
                    <a:lnTo>
                      <a:pt x="572" y="867"/>
                    </a:lnTo>
                    <a:lnTo>
                      <a:pt x="576" y="853"/>
                    </a:lnTo>
                    <a:lnTo>
                      <a:pt x="582" y="840"/>
                    </a:lnTo>
                    <a:lnTo>
                      <a:pt x="588" y="827"/>
                    </a:lnTo>
                    <a:lnTo>
                      <a:pt x="594" y="813"/>
                    </a:lnTo>
                    <a:lnTo>
                      <a:pt x="594" y="813"/>
                    </a:lnTo>
                    <a:lnTo>
                      <a:pt x="605" y="797"/>
                    </a:lnTo>
                    <a:lnTo>
                      <a:pt x="616" y="781"/>
                    </a:lnTo>
                    <a:lnTo>
                      <a:pt x="641" y="751"/>
                    </a:lnTo>
                    <a:lnTo>
                      <a:pt x="665" y="722"/>
                    </a:lnTo>
                    <a:lnTo>
                      <a:pt x="685" y="700"/>
                    </a:lnTo>
                    <a:lnTo>
                      <a:pt x="685" y="700"/>
                    </a:lnTo>
                    <a:lnTo>
                      <a:pt x="700" y="685"/>
                    </a:lnTo>
                    <a:lnTo>
                      <a:pt x="713" y="670"/>
                    </a:lnTo>
                    <a:lnTo>
                      <a:pt x="726" y="656"/>
                    </a:lnTo>
                    <a:lnTo>
                      <a:pt x="738" y="639"/>
                    </a:lnTo>
                    <a:lnTo>
                      <a:pt x="749" y="622"/>
                    </a:lnTo>
                    <a:lnTo>
                      <a:pt x="759" y="605"/>
                    </a:lnTo>
                    <a:lnTo>
                      <a:pt x="769" y="587"/>
                    </a:lnTo>
                    <a:lnTo>
                      <a:pt x="777" y="569"/>
                    </a:lnTo>
                    <a:lnTo>
                      <a:pt x="786" y="550"/>
                    </a:lnTo>
                    <a:lnTo>
                      <a:pt x="792" y="530"/>
                    </a:lnTo>
                    <a:lnTo>
                      <a:pt x="798" y="511"/>
                    </a:lnTo>
                    <a:lnTo>
                      <a:pt x="802" y="491"/>
                    </a:lnTo>
                    <a:lnTo>
                      <a:pt x="807" y="470"/>
                    </a:lnTo>
                    <a:lnTo>
                      <a:pt x="809" y="448"/>
                    </a:lnTo>
                    <a:lnTo>
                      <a:pt x="811" y="427"/>
                    </a:lnTo>
                    <a:lnTo>
                      <a:pt x="812" y="406"/>
                    </a:lnTo>
                    <a:lnTo>
                      <a:pt x="812" y="406"/>
                    </a:lnTo>
                    <a:lnTo>
                      <a:pt x="811" y="385"/>
                    </a:lnTo>
                    <a:lnTo>
                      <a:pt x="810" y="364"/>
                    </a:lnTo>
                    <a:lnTo>
                      <a:pt x="807" y="344"/>
                    </a:lnTo>
                    <a:lnTo>
                      <a:pt x="804" y="324"/>
                    </a:lnTo>
                    <a:lnTo>
                      <a:pt x="799" y="305"/>
                    </a:lnTo>
                    <a:lnTo>
                      <a:pt x="793" y="286"/>
                    </a:lnTo>
                    <a:lnTo>
                      <a:pt x="787" y="267"/>
                    </a:lnTo>
                    <a:lnTo>
                      <a:pt x="779" y="247"/>
                    </a:lnTo>
                    <a:lnTo>
                      <a:pt x="772" y="230"/>
                    </a:lnTo>
                    <a:lnTo>
                      <a:pt x="762" y="213"/>
                    </a:lnTo>
                    <a:lnTo>
                      <a:pt x="753" y="196"/>
                    </a:lnTo>
                    <a:lnTo>
                      <a:pt x="742" y="179"/>
                    </a:lnTo>
                    <a:lnTo>
                      <a:pt x="731" y="163"/>
                    </a:lnTo>
                    <a:lnTo>
                      <a:pt x="719" y="148"/>
                    </a:lnTo>
                    <a:lnTo>
                      <a:pt x="706" y="133"/>
                    </a:lnTo>
                    <a:lnTo>
                      <a:pt x="693" y="120"/>
                    </a:lnTo>
                    <a:lnTo>
                      <a:pt x="679" y="106"/>
                    </a:lnTo>
                    <a:lnTo>
                      <a:pt x="664" y="93"/>
                    </a:lnTo>
                    <a:lnTo>
                      <a:pt x="649" y="80"/>
                    </a:lnTo>
                    <a:lnTo>
                      <a:pt x="633" y="70"/>
                    </a:lnTo>
                    <a:lnTo>
                      <a:pt x="616" y="59"/>
                    </a:lnTo>
                    <a:lnTo>
                      <a:pt x="599" y="49"/>
                    </a:lnTo>
                    <a:lnTo>
                      <a:pt x="582" y="40"/>
                    </a:lnTo>
                    <a:lnTo>
                      <a:pt x="564" y="32"/>
                    </a:lnTo>
                    <a:lnTo>
                      <a:pt x="546" y="24"/>
                    </a:lnTo>
                    <a:lnTo>
                      <a:pt x="527" y="18"/>
                    </a:lnTo>
                    <a:lnTo>
                      <a:pt x="508" y="13"/>
                    </a:lnTo>
                    <a:lnTo>
                      <a:pt x="487" y="9"/>
                    </a:lnTo>
                    <a:lnTo>
                      <a:pt x="467" y="5"/>
                    </a:lnTo>
                    <a:lnTo>
                      <a:pt x="447" y="2"/>
                    </a:lnTo>
                    <a:lnTo>
                      <a:pt x="427" y="1"/>
                    </a:lnTo>
                    <a:lnTo>
                      <a:pt x="406" y="0"/>
                    </a:lnTo>
                    <a:lnTo>
                      <a:pt x="406" y="0"/>
                    </a:lnTo>
                    <a:close/>
                    <a:moveTo>
                      <a:pt x="557" y="587"/>
                    </a:moveTo>
                    <a:lnTo>
                      <a:pt x="557" y="587"/>
                    </a:lnTo>
                    <a:lnTo>
                      <a:pt x="546" y="600"/>
                    </a:lnTo>
                    <a:lnTo>
                      <a:pt x="533" y="615"/>
                    </a:lnTo>
                    <a:lnTo>
                      <a:pt x="520" y="633"/>
                    </a:lnTo>
                    <a:lnTo>
                      <a:pt x="509" y="652"/>
                    </a:lnTo>
                    <a:lnTo>
                      <a:pt x="509" y="652"/>
                    </a:lnTo>
                    <a:lnTo>
                      <a:pt x="504" y="660"/>
                    </a:lnTo>
                    <a:lnTo>
                      <a:pt x="501" y="667"/>
                    </a:lnTo>
                    <a:lnTo>
                      <a:pt x="496" y="683"/>
                    </a:lnTo>
                    <a:lnTo>
                      <a:pt x="492" y="699"/>
                    </a:lnTo>
                    <a:lnTo>
                      <a:pt x="487" y="714"/>
                    </a:lnTo>
                    <a:lnTo>
                      <a:pt x="485" y="720"/>
                    </a:lnTo>
                    <a:lnTo>
                      <a:pt x="482" y="726"/>
                    </a:lnTo>
                    <a:lnTo>
                      <a:pt x="478" y="732"/>
                    </a:lnTo>
                    <a:lnTo>
                      <a:pt x="474" y="737"/>
                    </a:lnTo>
                    <a:lnTo>
                      <a:pt x="468" y="740"/>
                    </a:lnTo>
                    <a:lnTo>
                      <a:pt x="461" y="743"/>
                    </a:lnTo>
                    <a:lnTo>
                      <a:pt x="454" y="746"/>
                    </a:lnTo>
                    <a:lnTo>
                      <a:pt x="445" y="746"/>
                    </a:lnTo>
                    <a:lnTo>
                      <a:pt x="411" y="746"/>
                    </a:lnTo>
                    <a:lnTo>
                      <a:pt x="401" y="746"/>
                    </a:lnTo>
                    <a:lnTo>
                      <a:pt x="367" y="746"/>
                    </a:lnTo>
                    <a:lnTo>
                      <a:pt x="367" y="746"/>
                    </a:lnTo>
                    <a:lnTo>
                      <a:pt x="358" y="746"/>
                    </a:lnTo>
                    <a:lnTo>
                      <a:pt x="350" y="743"/>
                    </a:lnTo>
                    <a:lnTo>
                      <a:pt x="344" y="740"/>
                    </a:lnTo>
                    <a:lnTo>
                      <a:pt x="338" y="737"/>
                    </a:lnTo>
                    <a:lnTo>
                      <a:pt x="334" y="732"/>
                    </a:lnTo>
                    <a:lnTo>
                      <a:pt x="330" y="726"/>
                    </a:lnTo>
                    <a:lnTo>
                      <a:pt x="327" y="720"/>
                    </a:lnTo>
                    <a:lnTo>
                      <a:pt x="325" y="714"/>
                    </a:lnTo>
                    <a:lnTo>
                      <a:pt x="320" y="699"/>
                    </a:lnTo>
                    <a:lnTo>
                      <a:pt x="316" y="683"/>
                    </a:lnTo>
                    <a:lnTo>
                      <a:pt x="311" y="667"/>
                    </a:lnTo>
                    <a:lnTo>
                      <a:pt x="308" y="660"/>
                    </a:lnTo>
                    <a:lnTo>
                      <a:pt x="303" y="652"/>
                    </a:lnTo>
                    <a:lnTo>
                      <a:pt x="303" y="652"/>
                    </a:lnTo>
                    <a:lnTo>
                      <a:pt x="292" y="633"/>
                    </a:lnTo>
                    <a:lnTo>
                      <a:pt x="278" y="614"/>
                    </a:lnTo>
                    <a:lnTo>
                      <a:pt x="264" y="599"/>
                    </a:lnTo>
                    <a:lnTo>
                      <a:pt x="253" y="585"/>
                    </a:lnTo>
                    <a:lnTo>
                      <a:pt x="253" y="585"/>
                    </a:lnTo>
                    <a:lnTo>
                      <a:pt x="243" y="574"/>
                    </a:lnTo>
                    <a:lnTo>
                      <a:pt x="243" y="574"/>
                    </a:lnTo>
                    <a:lnTo>
                      <a:pt x="242" y="573"/>
                    </a:lnTo>
                    <a:lnTo>
                      <a:pt x="242" y="573"/>
                    </a:lnTo>
                    <a:lnTo>
                      <a:pt x="242" y="573"/>
                    </a:lnTo>
                    <a:lnTo>
                      <a:pt x="230" y="557"/>
                    </a:lnTo>
                    <a:lnTo>
                      <a:pt x="219" y="540"/>
                    </a:lnTo>
                    <a:lnTo>
                      <a:pt x="209" y="521"/>
                    </a:lnTo>
                    <a:lnTo>
                      <a:pt x="202" y="502"/>
                    </a:lnTo>
                    <a:lnTo>
                      <a:pt x="196" y="482"/>
                    </a:lnTo>
                    <a:lnTo>
                      <a:pt x="190" y="461"/>
                    </a:lnTo>
                    <a:lnTo>
                      <a:pt x="187" y="440"/>
                    </a:lnTo>
                    <a:lnTo>
                      <a:pt x="186" y="418"/>
                    </a:lnTo>
                    <a:lnTo>
                      <a:pt x="186" y="418"/>
                    </a:lnTo>
                    <a:lnTo>
                      <a:pt x="188" y="393"/>
                    </a:lnTo>
                    <a:lnTo>
                      <a:pt x="191" y="370"/>
                    </a:lnTo>
                    <a:lnTo>
                      <a:pt x="197" y="348"/>
                    </a:lnTo>
                    <a:lnTo>
                      <a:pt x="204" y="327"/>
                    </a:lnTo>
                    <a:lnTo>
                      <a:pt x="214" y="307"/>
                    </a:lnTo>
                    <a:lnTo>
                      <a:pt x="224" y="287"/>
                    </a:lnTo>
                    <a:lnTo>
                      <a:pt x="237" y="269"/>
                    </a:lnTo>
                    <a:lnTo>
                      <a:pt x="251" y="253"/>
                    </a:lnTo>
                    <a:lnTo>
                      <a:pt x="266" y="237"/>
                    </a:lnTo>
                    <a:lnTo>
                      <a:pt x="283" y="224"/>
                    </a:lnTo>
                    <a:lnTo>
                      <a:pt x="301" y="213"/>
                    </a:lnTo>
                    <a:lnTo>
                      <a:pt x="320" y="202"/>
                    </a:lnTo>
                    <a:lnTo>
                      <a:pt x="340" y="195"/>
                    </a:lnTo>
                    <a:lnTo>
                      <a:pt x="362" y="188"/>
                    </a:lnTo>
                    <a:lnTo>
                      <a:pt x="384" y="185"/>
                    </a:lnTo>
                    <a:lnTo>
                      <a:pt x="406" y="184"/>
                    </a:lnTo>
                    <a:lnTo>
                      <a:pt x="406" y="184"/>
                    </a:lnTo>
                    <a:lnTo>
                      <a:pt x="428" y="185"/>
                    </a:lnTo>
                    <a:lnTo>
                      <a:pt x="450" y="188"/>
                    </a:lnTo>
                    <a:lnTo>
                      <a:pt x="472" y="195"/>
                    </a:lnTo>
                    <a:lnTo>
                      <a:pt x="492" y="202"/>
                    </a:lnTo>
                    <a:lnTo>
                      <a:pt x="511" y="213"/>
                    </a:lnTo>
                    <a:lnTo>
                      <a:pt x="529" y="224"/>
                    </a:lnTo>
                    <a:lnTo>
                      <a:pt x="546" y="237"/>
                    </a:lnTo>
                    <a:lnTo>
                      <a:pt x="561" y="253"/>
                    </a:lnTo>
                    <a:lnTo>
                      <a:pt x="575" y="269"/>
                    </a:lnTo>
                    <a:lnTo>
                      <a:pt x="588" y="287"/>
                    </a:lnTo>
                    <a:lnTo>
                      <a:pt x="599" y="307"/>
                    </a:lnTo>
                    <a:lnTo>
                      <a:pt x="608" y="327"/>
                    </a:lnTo>
                    <a:lnTo>
                      <a:pt x="615" y="348"/>
                    </a:lnTo>
                    <a:lnTo>
                      <a:pt x="621" y="370"/>
                    </a:lnTo>
                    <a:lnTo>
                      <a:pt x="625" y="393"/>
                    </a:lnTo>
                    <a:lnTo>
                      <a:pt x="626" y="418"/>
                    </a:lnTo>
                    <a:lnTo>
                      <a:pt x="626" y="418"/>
                    </a:lnTo>
                    <a:lnTo>
                      <a:pt x="624" y="442"/>
                    </a:lnTo>
                    <a:lnTo>
                      <a:pt x="621" y="466"/>
                    </a:lnTo>
                    <a:lnTo>
                      <a:pt x="615" y="490"/>
                    </a:lnTo>
                    <a:lnTo>
                      <a:pt x="607" y="511"/>
                    </a:lnTo>
                    <a:lnTo>
                      <a:pt x="597" y="532"/>
                    </a:lnTo>
                    <a:lnTo>
                      <a:pt x="586" y="552"/>
                    </a:lnTo>
                    <a:lnTo>
                      <a:pt x="572" y="570"/>
                    </a:lnTo>
                    <a:lnTo>
                      <a:pt x="557" y="587"/>
                    </a:lnTo>
                    <a:lnTo>
                      <a:pt x="557" y="58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80" name="Group 79"/>
            <p:cNvGrpSpPr/>
            <p:nvPr/>
          </p:nvGrpSpPr>
          <p:grpSpPr>
            <a:xfrm flipH="1">
              <a:off x="2930273" y="3010892"/>
              <a:ext cx="203523" cy="101763"/>
              <a:chOff x="9114825" y="2531692"/>
              <a:chExt cx="178844" cy="89423"/>
            </a:xfrm>
            <a:solidFill>
              <a:schemeClr val="bg1"/>
            </a:solidFill>
          </p:grpSpPr>
          <p:sp>
            <p:nvSpPr>
              <p:cNvPr id="81" name="Freeform 1369"/>
              <p:cNvSpPr>
                <a:spLocks/>
              </p:cNvSpPr>
              <p:nvPr/>
            </p:nvSpPr>
            <p:spPr bwMode="auto">
              <a:xfrm>
                <a:off x="9114825" y="2531692"/>
                <a:ext cx="178844" cy="89423"/>
              </a:xfrm>
              <a:custGeom>
                <a:avLst/>
                <a:gdLst>
                  <a:gd name="T0" fmla="*/ 108 w 162"/>
                  <a:gd name="T1" fmla="*/ 4 h 81"/>
                  <a:gd name="T2" fmla="*/ 108 w 162"/>
                  <a:gd name="T3" fmla="*/ 4 h 81"/>
                  <a:gd name="T4" fmla="*/ 124 w 162"/>
                  <a:gd name="T5" fmla="*/ 8 h 81"/>
                  <a:gd name="T6" fmla="*/ 136 w 162"/>
                  <a:gd name="T7" fmla="*/ 13 h 81"/>
                  <a:gd name="T8" fmla="*/ 146 w 162"/>
                  <a:gd name="T9" fmla="*/ 19 h 81"/>
                  <a:gd name="T10" fmla="*/ 155 w 162"/>
                  <a:gd name="T11" fmla="*/ 24 h 81"/>
                  <a:gd name="T12" fmla="*/ 159 w 162"/>
                  <a:gd name="T13" fmla="*/ 32 h 81"/>
                  <a:gd name="T14" fmla="*/ 162 w 162"/>
                  <a:gd name="T15" fmla="*/ 39 h 81"/>
                  <a:gd name="T16" fmla="*/ 162 w 162"/>
                  <a:gd name="T17" fmla="*/ 48 h 81"/>
                  <a:gd name="T18" fmla="*/ 161 w 162"/>
                  <a:gd name="T19" fmla="*/ 56 h 81"/>
                  <a:gd name="T20" fmla="*/ 161 w 162"/>
                  <a:gd name="T21" fmla="*/ 56 h 81"/>
                  <a:gd name="T22" fmla="*/ 158 w 162"/>
                  <a:gd name="T23" fmla="*/ 65 h 81"/>
                  <a:gd name="T24" fmla="*/ 153 w 162"/>
                  <a:gd name="T25" fmla="*/ 71 h 81"/>
                  <a:gd name="T26" fmla="*/ 146 w 162"/>
                  <a:gd name="T27" fmla="*/ 77 h 81"/>
                  <a:gd name="T28" fmla="*/ 139 w 162"/>
                  <a:gd name="T29" fmla="*/ 80 h 81"/>
                  <a:gd name="T30" fmla="*/ 130 w 162"/>
                  <a:gd name="T31" fmla="*/ 81 h 81"/>
                  <a:gd name="T32" fmla="*/ 119 w 162"/>
                  <a:gd name="T33" fmla="*/ 80 h 81"/>
                  <a:gd name="T34" fmla="*/ 105 w 162"/>
                  <a:gd name="T35" fmla="*/ 78 h 81"/>
                  <a:gd name="T36" fmla="*/ 89 w 162"/>
                  <a:gd name="T37" fmla="*/ 74 h 81"/>
                  <a:gd name="T38" fmla="*/ 89 w 162"/>
                  <a:gd name="T39" fmla="*/ 74 h 81"/>
                  <a:gd name="T40" fmla="*/ 73 w 162"/>
                  <a:gd name="T41" fmla="*/ 68 h 81"/>
                  <a:gd name="T42" fmla="*/ 57 w 162"/>
                  <a:gd name="T43" fmla="*/ 59 h 81"/>
                  <a:gd name="T44" fmla="*/ 41 w 162"/>
                  <a:gd name="T45" fmla="*/ 48 h 81"/>
                  <a:gd name="T46" fmla="*/ 28 w 162"/>
                  <a:gd name="T47" fmla="*/ 38 h 81"/>
                  <a:gd name="T48" fmla="*/ 8 w 162"/>
                  <a:gd name="T49" fmla="*/ 19 h 81"/>
                  <a:gd name="T50" fmla="*/ 0 w 162"/>
                  <a:gd name="T51" fmla="*/ 10 h 81"/>
                  <a:gd name="T52" fmla="*/ 0 w 162"/>
                  <a:gd name="T53" fmla="*/ 10 h 81"/>
                  <a:gd name="T54" fmla="*/ 11 w 162"/>
                  <a:gd name="T55" fmla="*/ 7 h 81"/>
                  <a:gd name="T56" fmla="*/ 38 w 162"/>
                  <a:gd name="T57" fmla="*/ 3 h 81"/>
                  <a:gd name="T58" fmla="*/ 54 w 162"/>
                  <a:gd name="T59" fmla="*/ 0 h 81"/>
                  <a:gd name="T60" fmla="*/ 73 w 162"/>
                  <a:gd name="T61" fmla="*/ 0 h 81"/>
                  <a:gd name="T62" fmla="*/ 91 w 162"/>
                  <a:gd name="T63" fmla="*/ 0 h 81"/>
                  <a:gd name="T64" fmla="*/ 108 w 162"/>
                  <a:gd name="T65" fmla="*/ 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81">
                    <a:moveTo>
                      <a:pt x="108" y="4"/>
                    </a:moveTo>
                    <a:lnTo>
                      <a:pt x="108" y="4"/>
                    </a:lnTo>
                    <a:lnTo>
                      <a:pt x="124" y="8"/>
                    </a:lnTo>
                    <a:lnTo>
                      <a:pt x="136" y="13"/>
                    </a:lnTo>
                    <a:lnTo>
                      <a:pt x="146" y="19"/>
                    </a:lnTo>
                    <a:lnTo>
                      <a:pt x="155" y="24"/>
                    </a:lnTo>
                    <a:lnTo>
                      <a:pt x="159" y="32"/>
                    </a:lnTo>
                    <a:lnTo>
                      <a:pt x="162" y="39"/>
                    </a:lnTo>
                    <a:lnTo>
                      <a:pt x="162" y="48"/>
                    </a:lnTo>
                    <a:lnTo>
                      <a:pt x="161" y="56"/>
                    </a:lnTo>
                    <a:lnTo>
                      <a:pt x="161" y="56"/>
                    </a:lnTo>
                    <a:lnTo>
                      <a:pt x="158" y="65"/>
                    </a:lnTo>
                    <a:lnTo>
                      <a:pt x="153" y="71"/>
                    </a:lnTo>
                    <a:lnTo>
                      <a:pt x="146" y="77"/>
                    </a:lnTo>
                    <a:lnTo>
                      <a:pt x="139" y="80"/>
                    </a:lnTo>
                    <a:lnTo>
                      <a:pt x="130" y="81"/>
                    </a:lnTo>
                    <a:lnTo>
                      <a:pt x="119" y="80"/>
                    </a:lnTo>
                    <a:lnTo>
                      <a:pt x="105" y="78"/>
                    </a:lnTo>
                    <a:lnTo>
                      <a:pt x="89" y="74"/>
                    </a:lnTo>
                    <a:lnTo>
                      <a:pt x="89" y="74"/>
                    </a:lnTo>
                    <a:lnTo>
                      <a:pt x="73" y="68"/>
                    </a:lnTo>
                    <a:lnTo>
                      <a:pt x="57" y="59"/>
                    </a:lnTo>
                    <a:lnTo>
                      <a:pt x="41" y="48"/>
                    </a:lnTo>
                    <a:lnTo>
                      <a:pt x="28" y="38"/>
                    </a:lnTo>
                    <a:lnTo>
                      <a:pt x="8" y="19"/>
                    </a:lnTo>
                    <a:lnTo>
                      <a:pt x="0" y="10"/>
                    </a:lnTo>
                    <a:lnTo>
                      <a:pt x="0" y="10"/>
                    </a:lnTo>
                    <a:lnTo>
                      <a:pt x="11" y="7"/>
                    </a:lnTo>
                    <a:lnTo>
                      <a:pt x="38" y="3"/>
                    </a:lnTo>
                    <a:lnTo>
                      <a:pt x="54" y="0"/>
                    </a:lnTo>
                    <a:lnTo>
                      <a:pt x="73" y="0"/>
                    </a:lnTo>
                    <a:lnTo>
                      <a:pt x="91" y="0"/>
                    </a:lnTo>
                    <a:lnTo>
                      <a:pt x="10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370"/>
              <p:cNvSpPr>
                <a:spLocks/>
              </p:cNvSpPr>
              <p:nvPr/>
            </p:nvSpPr>
            <p:spPr bwMode="auto">
              <a:xfrm>
                <a:off x="9114825" y="2531692"/>
                <a:ext cx="178844" cy="89423"/>
              </a:xfrm>
              <a:custGeom>
                <a:avLst/>
                <a:gdLst>
                  <a:gd name="T0" fmla="*/ 108 w 162"/>
                  <a:gd name="T1" fmla="*/ 4 h 81"/>
                  <a:gd name="T2" fmla="*/ 108 w 162"/>
                  <a:gd name="T3" fmla="*/ 4 h 81"/>
                  <a:gd name="T4" fmla="*/ 124 w 162"/>
                  <a:gd name="T5" fmla="*/ 8 h 81"/>
                  <a:gd name="T6" fmla="*/ 136 w 162"/>
                  <a:gd name="T7" fmla="*/ 13 h 81"/>
                  <a:gd name="T8" fmla="*/ 146 w 162"/>
                  <a:gd name="T9" fmla="*/ 19 h 81"/>
                  <a:gd name="T10" fmla="*/ 155 w 162"/>
                  <a:gd name="T11" fmla="*/ 24 h 81"/>
                  <a:gd name="T12" fmla="*/ 159 w 162"/>
                  <a:gd name="T13" fmla="*/ 32 h 81"/>
                  <a:gd name="T14" fmla="*/ 162 w 162"/>
                  <a:gd name="T15" fmla="*/ 39 h 81"/>
                  <a:gd name="T16" fmla="*/ 162 w 162"/>
                  <a:gd name="T17" fmla="*/ 48 h 81"/>
                  <a:gd name="T18" fmla="*/ 161 w 162"/>
                  <a:gd name="T19" fmla="*/ 56 h 81"/>
                  <a:gd name="T20" fmla="*/ 161 w 162"/>
                  <a:gd name="T21" fmla="*/ 56 h 81"/>
                  <a:gd name="T22" fmla="*/ 158 w 162"/>
                  <a:gd name="T23" fmla="*/ 65 h 81"/>
                  <a:gd name="T24" fmla="*/ 153 w 162"/>
                  <a:gd name="T25" fmla="*/ 71 h 81"/>
                  <a:gd name="T26" fmla="*/ 146 w 162"/>
                  <a:gd name="T27" fmla="*/ 77 h 81"/>
                  <a:gd name="T28" fmla="*/ 139 w 162"/>
                  <a:gd name="T29" fmla="*/ 80 h 81"/>
                  <a:gd name="T30" fmla="*/ 130 w 162"/>
                  <a:gd name="T31" fmla="*/ 81 h 81"/>
                  <a:gd name="T32" fmla="*/ 119 w 162"/>
                  <a:gd name="T33" fmla="*/ 80 h 81"/>
                  <a:gd name="T34" fmla="*/ 105 w 162"/>
                  <a:gd name="T35" fmla="*/ 78 h 81"/>
                  <a:gd name="T36" fmla="*/ 89 w 162"/>
                  <a:gd name="T37" fmla="*/ 74 h 81"/>
                  <a:gd name="T38" fmla="*/ 89 w 162"/>
                  <a:gd name="T39" fmla="*/ 74 h 81"/>
                  <a:gd name="T40" fmla="*/ 73 w 162"/>
                  <a:gd name="T41" fmla="*/ 68 h 81"/>
                  <a:gd name="T42" fmla="*/ 57 w 162"/>
                  <a:gd name="T43" fmla="*/ 59 h 81"/>
                  <a:gd name="T44" fmla="*/ 41 w 162"/>
                  <a:gd name="T45" fmla="*/ 48 h 81"/>
                  <a:gd name="T46" fmla="*/ 28 w 162"/>
                  <a:gd name="T47" fmla="*/ 38 h 81"/>
                  <a:gd name="T48" fmla="*/ 8 w 162"/>
                  <a:gd name="T49" fmla="*/ 19 h 81"/>
                  <a:gd name="T50" fmla="*/ 0 w 162"/>
                  <a:gd name="T51" fmla="*/ 10 h 81"/>
                  <a:gd name="T52" fmla="*/ 0 w 162"/>
                  <a:gd name="T53" fmla="*/ 10 h 81"/>
                  <a:gd name="T54" fmla="*/ 11 w 162"/>
                  <a:gd name="T55" fmla="*/ 7 h 81"/>
                  <a:gd name="T56" fmla="*/ 38 w 162"/>
                  <a:gd name="T57" fmla="*/ 3 h 81"/>
                  <a:gd name="T58" fmla="*/ 54 w 162"/>
                  <a:gd name="T59" fmla="*/ 0 h 81"/>
                  <a:gd name="T60" fmla="*/ 73 w 162"/>
                  <a:gd name="T61" fmla="*/ 0 h 81"/>
                  <a:gd name="T62" fmla="*/ 91 w 162"/>
                  <a:gd name="T63" fmla="*/ 0 h 81"/>
                  <a:gd name="T64" fmla="*/ 108 w 162"/>
                  <a:gd name="T65" fmla="*/ 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81">
                    <a:moveTo>
                      <a:pt x="108" y="4"/>
                    </a:moveTo>
                    <a:lnTo>
                      <a:pt x="108" y="4"/>
                    </a:lnTo>
                    <a:lnTo>
                      <a:pt x="124" y="8"/>
                    </a:lnTo>
                    <a:lnTo>
                      <a:pt x="136" y="13"/>
                    </a:lnTo>
                    <a:lnTo>
                      <a:pt x="146" y="19"/>
                    </a:lnTo>
                    <a:lnTo>
                      <a:pt x="155" y="24"/>
                    </a:lnTo>
                    <a:lnTo>
                      <a:pt x="159" y="32"/>
                    </a:lnTo>
                    <a:lnTo>
                      <a:pt x="162" y="39"/>
                    </a:lnTo>
                    <a:lnTo>
                      <a:pt x="162" y="48"/>
                    </a:lnTo>
                    <a:lnTo>
                      <a:pt x="161" y="56"/>
                    </a:lnTo>
                    <a:lnTo>
                      <a:pt x="161" y="56"/>
                    </a:lnTo>
                    <a:lnTo>
                      <a:pt x="158" y="65"/>
                    </a:lnTo>
                    <a:lnTo>
                      <a:pt x="153" y="71"/>
                    </a:lnTo>
                    <a:lnTo>
                      <a:pt x="146" y="77"/>
                    </a:lnTo>
                    <a:lnTo>
                      <a:pt x="139" y="80"/>
                    </a:lnTo>
                    <a:lnTo>
                      <a:pt x="130" y="81"/>
                    </a:lnTo>
                    <a:lnTo>
                      <a:pt x="119" y="80"/>
                    </a:lnTo>
                    <a:lnTo>
                      <a:pt x="105" y="78"/>
                    </a:lnTo>
                    <a:lnTo>
                      <a:pt x="89" y="74"/>
                    </a:lnTo>
                    <a:lnTo>
                      <a:pt x="89" y="74"/>
                    </a:lnTo>
                    <a:lnTo>
                      <a:pt x="73" y="68"/>
                    </a:lnTo>
                    <a:lnTo>
                      <a:pt x="57" y="59"/>
                    </a:lnTo>
                    <a:lnTo>
                      <a:pt x="41" y="48"/>
                    </a:lnTo>
                    <a:lnTo>
                      <a:pt x="28" y="38"/>
                    </a:lnTo>
                    <a:lnTo>
                      <a:pt x="8" y="19"/>
                    </a:lnTo>
                    <a:lnTo>
                      <a:pt x="0" y="10"/>
                    </a:lnTo>
                    <a:lnTo>
                      <a:pt x="0" y="10"/>
                    </a:lnTo>
                    <a:lnTo>
                      <a:pt x="11" y="7"/>
                    </a:lnTo>
                    <a:lnTo>
                      <a:pt x="38" y="3"/>
                    </a:lnTo>
                    <a:lnTo>
                      <a:pt x="54" y="0"/>
                    </a:lnTo>
                    <a:lnTo>
                      <a:pt x="73" y="0"/>
                    </a:lnTo>
                    <a:lnTo>
                      <a:pt x="91" y="0"/>
                    </a:lnTo>
                    <a:lnTo>
                      <a:pt x="108"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371"/>
              <p:cNvSpPr>
                <a:spLocks/>
              </p:cNvSpPr>
              <p:nvPr/>
            </p:nvSpPr>
            <p:spPr bwMode="auto">
              <a:xfrm>
                <a:off x="9114825" y="2544940"/>
                <a:ext cx="178844" cy="76175"/>
              </a:xfrm>
              <a:custGeom>
                <a:avLst/>
                <a:gdLst>
                  <a:gd name="T0" fmla="*/ 0 w 161"/>
                  <a:gd name="T1" fmla="*/ 0 h 71"/>
                  <a:gd name="T2" fmla="*/ 161 w 161"/>
                  <a:gd name="T3" fmla="*/ 46 h 71"/>
                  <a:gd name="T4" fmla="*/ 161 w 161"/>
                  <a:gd name="T5" fmla="*/ 46 h 71"/>
                  <a:gd name="T6" fmla="*/ 161 w 161"/>
                  <a:gd name="T7" fmla="*/ 49 h 71"/>
                  <a:gd name="T8" fmla="*/ 158 w 161"/>
                  <a:gd name="T9" fmla="*/ 55 h 71"/>
                  <a:gd name="T10" fmla="*/ 156 w 161"/>
                  <a:gd name="T11" fmla="*/ 60 h 71"/>
                  <a:gd name="T12" fmla="*/ 152 w 161"/>
                  <a:gd name="T13" fmla="*/ 63 h 71"/>
                  <a:gd name="T14" fmla="*/ 148 w 161"/>
                  <a:gd name="T15" fmla="*/ 65 h 71"/>
                  <a:gd name="T16" fmla="*/ 142 w 161"/>
                  <a:gd name="T17" fmla="*/ 68 h 71"/>
                  <a:gd name="T18" fmla="*/ 142 w 161"/>
                  <a:gd name="T19" fmla="*/ 68 h 71"/>
                  <a:gd name="T20" fmla="*/ 133 w 161"/>
                  <a:gd name="T21" fmla="*/ 71 h 71"/>
                  <a:gd name="T22" fmla="*/ 123 w 161"/>
                  <a:gd name="T23" fmla="*/ 71 h 71"/>
                  <a:gd name="T24" fmla="*/ 111 w 161"/>
                  <a:gd name="T25" fmla="*/ 70 h 71"/>
                  <a:gd name="T26" fmla="*/ 97 w 161"/>
                  <a:gd name="T27" fmla="*/ 67 h 71"/>
                  <a:gd name="T28" fmla="*/ 97 w 161"/>
                  <a:gd name="T29" fmla="*/ 67 h 71"/>
                  <a:gd name="T30" fmla="*/ 86 w 161"/>
                  <a:gd name="T31" fmla="*/ 64 h 71"/>
                  <a:gd name="T32" fmla="*/ 76 w 161"/>
                  <a:gd name="T33" fmla="*/ 60 h 71"/>
                  <a:gd name="T34" fmla="*/ 59 w 161"/>
                  <a:gd name="T35" fmla="*/ 51 h 71"/>
                  <a:gd name="T36" fmla="*/ 43 w 161"/>
                  <a:gd name="T37" fmla="*/ 39 h 71"/>
                  <a:gd name="T38" fmla="*/ 28 w 161"/>
                  <a:gd name="T39" fmla="*/ 28 h 71"/>
                  <a:gd name="T40" fmla="*/ 17 w 161"/>
                  <a:gd name="T41" fmla="*/ 17 h 71"/>
                  <a:gd name="T42" fmla="*/ 8 w 161"/>
                  <a:gd name="T43" fmla="*/ 9 h 71"/>
                  <a:gd name="T44" fmla="*/ 0 w 161"/>
                  <a:gd name="T4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 h="71">
                    <a:moveTo>
                      <a:pt x="0" y="0"/>
                    </a:moveTo>
                    <a:lnTo>
                      <a:pt x="161" y="46"/>
                    </a:lnTo>
                    <a:lnTo>
                      <a:pt x="161" y="46"/>
                    </a:lnTo>
                    <a:lnTo>
                      <a:pt x="161" y="49"/>
                    </a:lnTo>
                    <a:lnTo>
                      <a:pt x="158" y="55"/>
                    </a:lnTo>
                    <a:lnTo>
                      <a:pt x="156" y="60"/>
                    </a:lnTo>
                    <a:lnTo>
                      <a:pt x="152" y="63"/>
                    </a:lnTo>
                    <a:lnTo>
                      <a:pt x="148" y="65"/>
                    </a:lnTo>
                    <a:lnTo>
                      <a:pt x="142" y="68"/>
                    </a:lnTo>
                    <a:lnTo>
                      <a:pt x="142" y="68"/>
                    </a:lnTo>
                    <a:lnTo>
                      <a:pt x="133" y="71"/>
                    </a:lnTo>
                    <a:lnTo>
                      <a:pt x="123" y="71"/>
                    </a:lnTo>
                    <a:lnTo>
                      <a:pt x="111" y="70"/>
                    </a:lnTo>
                    <a:lnTo>
                      <a:pt x="97" y="67"/>
                    </a:lnTo>
                    <a:lnTo>
                      <a:pt x="97" y="67"/>
                    </a:lnTo>
                    <a:lnTo>
                      <a:pt x="86" y="64"/>
                    </a:lnTo>
                    <a:lnTo>
                      <a:pt x="76" y="60"/>
                    </a:lnTo>
                    <a:lnTo>
                      <a:pt x="59" y="51"/>
                    </a:lnTo>
                    <a:lnTo>
                      <a:pt x="43" y="39"/>
                    </a:lnTo>
                    <a:lnTo>
                      <a:pt x="28" y="28"/>
                    </a:lnTo>
                    <a:lnTo>
                      <a:pt x="17" y="17"/>
                    </a:lnTo>
                    <a:lnTo>
                      <a:pt x="8" y="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372"/>
              <p:cNvSpPr>
                <a:spLocks/>
              </p:cNvSpPr>
              <p:nvPr/>
            </p:nvSpPr>
            <p:spPr bwMode="auto">
              <a:xfrm>
                <a:off x="9114825" y="2544940"/>
                <a:ext cx="178844" cy="76175"/>
              </a:xfrm>
              <a:custGeom>
                <a:avLst/>
                <a:gdLst>
                  <a:gd name="T0" fmla="*/ 0 w 161"/>
                  <a:gd name="T1" fmla="*/ 0 h 71"/>
                  <a:gd name="T2" fmla="*/ 161 w 161"/>
                  <a:gd name="T3" fmla="*/ 46 h 71"/>
                  <a:gd name="T4" fmla="*/ 161 w 161"/>
                  <a:gd name="T5" fmla="*/ 46 h 71"/>
                  <a:gd name="T6" fmla="*/ 161 w 161"/>
                  <a:gd name="T7" fmla="*/ 49 h 71"/>
                  <a:gd name="T8" fmla="*/ 158 w 161"/>
                  <a:gd name="T9" fmla="*/ 55 h 71"/>
                  <a:gd name="T10" fmla="*/ 156 w 161"/>
                  <a:gd name="T11" fmla="*/ 60 h 71"/>
                  <a:gd name="T12" fmla="*/ 152 w 161"/>
                  <a:gd name="T13" fmla="*/ 63 h 71"/>
                  <a:gd name="T14" fmla="*/ 148 w 161"/>
                  <a:gd name="T15" fmla="*/ 65 h 71"/>
                  <a:gd name="T16" fmla="*/ 142 w 161"/>
                  <a:gd name="T17" fmla="*/ 68 h 71"/>
                  <a:gd name="T18" fmla="*/ 142 w 161"/>
                  <a:gd name="T19" fmla="*/ 68 h 71"/>
                  <a:gd name="T20" fmla="*/ 133 w 161"/>
                  <a:gd name="T21" fmla="*/ 71 h 71"/>
                  <a:gd name="T22" fmla="*/ 123 w 161"/>
                  <a:gd name="T23" fmla="*/ 71 h 71"/>
                  <a:gd name="T24" fmla="*/ 111 w 161"/>
                  <a:gd name="T25" fmla="*/ 70 h 71"/>
                  <a:gd name="T26" fmla="*/ 97 w 161"/>
                  <a:gd name="T27" fmla="*/ 67 h 71"/>
                  <a:gd name="T28" fmla="*/ 97 w 161"/>
                  <a:gd name="T29" fmla="*/ 67 h 71"/>
                  <a:gd name="T30" fmla="*/ 86 w 161"/>
                  <a:gd name="T31" fmla="*/ 64 h 71"/>
                  <a:gd name="T32" fmla="*/ 76 w 161"/>
                  <a:gd name="T33" fmla="*/ 60 h 71"/>
                  <a:gd name="T34" fmla="*/ 59 w 161"/>
                  <a:gd name="T35" fmla="*/ 51 h 71"/>
                  <a:gd name="T36" fmla="*/ 43 w 161"/>
                  <a:gd name="T37" fmla="*/ 39 h 71"/>
                  <a:gd name="T38" fmla="*/ 28 w 161"/>
                  <a:gd name="T39" fmla="*/ 28 h 71"/>
                  <a:gd name="T40" fmla="*/ 17 w 161"/>
                  <a:gd name="T41" fmla="*/ 17 h 71"/>
                  <a:gd name="T42" fmla="*/ 8 w 161"/>
                  <a:gd name="T43" fmla="*/ 9 h 71"/>
                  <a:gd name="T44" fmla="*/ 0 w 161"/>
                  <a:gd name="T4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 h="71">
                    <a:moveTo>
                      <a:pt x="0" y="0"/>
                    </a:moveTo>
                    <a:lnTo>
                      <a:pt x="161" y="46"/>
                    </a:lnTo>
                    <a:lnTo>
                      <a:pt x="161" y="46"/>
                    </a:lnTo>
                    <a:lnTo>
                      <a:pt x="161" y="49"/>
                    </a:lnTo>
                    <a:lnTo>
                      <a:pt x="158" y="55"/>
                    </a:lnTo>
                    <a:lnTo>
                      <a:pt x="156" y="60"/>
                    </a:lnTo>
                    <a:lnTo>
                      <a:pt x="152" y="63"/>
                    </a:lnTo>
                    <a:lnTo>
                      <a:pt x="148" y="65"/>
                    </a:lnTo>
                    <a:lnTo>
                      <a:pt x="142" y="68"/>
                    </a:lnTo>
                    <a:lnTo>
                      <a:pt x="142" y="68"/>
                    </a:lnTo>
                    <a:lnTo>
                      <a:pt x="133" y="71"/>
                    </a:lnTo>
                    <a:lnTo>
                      <a:pt x="123" y="71"/>
                    </a:lnTo>
                    <a:lnTo>
                      <a:pt x="111" y="70"/>
                    </a:lnTo>
                    <a:lnTo>
                      <a:pt x="97" y="67"/>
                    </a:lnTo>
                    <a:lnTo>
                      <a:pt x="97" y="67"/>
                    </a:lnTo>
                    <a:lnTo>
                      <a:pt x="86" y="64"/>
                    </a:lnTo>
                    <a:lnTo>
                      <a:pt x="76" y="60"/>
                    </a:lnTo>
                    <a:lnTo>
                      <a:pt x="59" y="51"/>
                    </a:lnTo>
                    <a:lnTo>
                      <a:pt x="43" y="39"/>
                    </a:lnTo>
                    <a:lnTo>
                      <a:pt x="28" y="28"/>
                    </a:lnTo>
                    <a:lnTo>
                      <a:pt x="17" y="17"/>
                    </a:lnTo>
                    <a:lnTo>
                      <a:pt x="8" y="9"/>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5" name="Freeform 1383"/>
            <p:cNvSpPr>
              <a:spLocks/>
            </p:cNvSpPr>
            <p:nvPr/>
          </p:nvSpPr>
          <p:spPr bwMode="auto">
            <a:xfrm flipH="1">
              <a:off x="2844790" y="2599770"/>
              <a:ext cx="384433" cy="358052"/>
            </a:xfrm>
            <a:custGeom>
              <a:avLst/>
              <a:gdLst>
                <a:gd name="T0" fmla="*/ 299 w 306"/>
                <a:gd name="T1" fmla="*/ 249 h 286"/>
                <a:gd name="T2" fmla="*/ 35 w 306"/>
                <a:gd name="T3" fmla="*/ 6 h 286"/>
                <a:gd name="T4" fmla="*/ 35 w 306"/>
                <a:gd name="T5" fmla="*/ 6 h 286"/>
                <a:gd name="T6" fmla="*/ 29 w 306"/>
                <a:gd name="T7" fmla="*/ 1 h 286"/>
                <a:gd name="T8" fmla="*/ 20 w 306"/>
                <a:gd name="T9" fmla="*/ 0 h 286"/>
                <a:gd name="T10" fmla="*/ 13 w 306"/>
                <a:gd name="T11" fmla="*/ 3 h 286"/>
                <a:gd name="T12" fmla="*/ 9 w 306"/>
                <a:gd name="T13" fmla="*/ 4 h 286"/>
                <a:gd name="T14" fmla="*/ 6 w 306"/>
                <a:gd name="T15" fmla="*/ 7 h 286"/>
                <a:gd name="T16" fmla="*/ 6 w 306"/>
                <a:gd name="T17" fmla="*/ 7 h 286"/>
                <a:gd name="T18" fmla="*/ 1 w 306"/>
                <a:gd name="T19" fmla="*/ 14 h 286"/>
                <a:gd name="T20" fmla="*/ 0 w 306"/>
                <a:gd name="T21" fmla="*/ 23 h 286"/>
                <a:gd name="T22" fmla="*/ 1 w 306"/>
                <a:gd name="T23" fmla="*/ 30 h 286"/>
                <a:gd name="T24" fmla="*/ 4 w 306"/>
                <a:gd name="T25" fmla="*/ 33 h 286"/>
                <a:gd name="T26" fmla="*/ 7 w 306"/>
                <a:gd name="T27" fmla="*/ 38 h 286"/>
                <a:gd name="T28" fmla="*/ 269 w 306"/>
                <a:gd name="T29" fmla="*/ 281 h 286"/>
                <a:gd name="T30" fmla="*/ 269 w 306"/>
                <a:gd name="T31" fmla="*/ 281 h 286"/>
                <a:gd name="T32" fmla="*/ 277 w 306"/>
                <a:gd name="T33" fmla="*/ 286 h 286"/>
                <a:gd name="T34" fmla="*/ 285 w 306"/>
                <a:gd name="T35" fmla="*/ 286 h 286"/>
                <a:gd name="T36" fmla="*/ 293 w 306"/>
                <a:gd name="T37" fmla="*/ 284 h 286"/>
                <a:gd name="T38" fmla="*/ 297 w 306"/>
                <a:gd name="T39" fmla="*/ 283 h 286"/>
                <a:gd name="T40" fmla="*/ 300 w 306"/>
                <a:gd name="T41" fmla="*/ 280 h 286"/>
                <a:gd name="T42" fmla="*/ 300 w 306"/>
                <a:gd name="T43" fmla="*/ 280 h 286"/>
                <a:gd name="T44" fmla="*/ 304 w 306"/>
                <a:gd name="T45" fmla="*/ 272 h 286"/>
                <a:gd name="T46" fmla="*/ 306 w 306"/>
                <a:gd name="T47" fmla="*/ 264 h 286"/>
                <a:gd name="T48" fmla="*/ 303 w 306"/>
                <a:gd name="T49" fmla="*/ 256 h 286"/>
                <a:gd name="T50" fmla="*/ 301 w 306"/>
                <a:gd name="T51" fmla="*/ 252 h 286"/>
                <a:gd name="T52" fmla="*/ 299 w 306"/>
                <a:gd name="T53" fmla="*/ 24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6" h="286">
                  <a:moveTo>
                    <a:pt x="299" y="249"/>
                  </a:moveTo>
                  <a:lnTo>
                    <a:pt x="35" y="6"/>
                  </a:lnTo>
                  <a:lnTo>
                    <a:pt x="35" y="6"/>
                  </a:lnTo>
                  <a:lnTo>
                    <a:pt x="29" y="1"/>
                  </a:lnTo>
                  <a:lnTo>
                    <a:pt x="20" y="0"/>
                  </a:lnTo>
                  <a:lnTo>
                    <a:pt x="13" y="3"/>
                  </a:lnTo>
                  <a:lnTo>
                    <a:pt x="9" y="4"/>
                  </a:lnTo>
                  <a:lnTo>
                    <a:pt x="6" y="7"/>
                  </a:lnTo>
                  <a:lnTo>
                    <a:pt x="6" y="7"/>
                  </a:lnTo>
                  <a:lnTo>
                    <a:pt x="1" y="14"/>
                  </a:lnTo>
                  <a:lnTo>
                    <a:pt x="0" y="23"/>
                  </a:lnTo>
                  <a:lnTo>
                    <a:pt x="1" y="30"/>
                  </a:lnTo>
                  <a:lnTo>
                    <a:pt x="4" y="33"/>
                  </a:lnTo>
                  <a:lnTo>
                    <a:pt x="7" y="38"/>
                  </a:lnTo>
                  <a:lnTo>
                    <a:pt x="269" y="281"/>
                  </a:lnTo>
                  <a:lnTo>
                    <a:pt x="269" y="281"/>
                  </a:lnTo>
                  <a:lnTo>
                    <a:pt x="277" y="286"/>
                  </a:lnTo>
                  <a:lnTo>
                    <a:pt x="285" y="286"/>
                  </a:lnTo>
                  <a:lnTo>
                    <a:pt x="293" y="284"/>
                  </a:lnTo>
                  <a:lnTo>
                    <a:pt x="297" y="283"/>
                  </a:lnTo>
                  <a:lnTo>
                    <a:pt x="300" y="280"/>
                  </a:lnTo>
                  <a:lnTo>
                    <a:pt x="300" y="280"/>
                  </a:lnTo>
                  <a:lnTo>
                    <a:pt x="304" y="272"/>
                  </a:lnTo>
                  <a:lnTo>
                    <a:pt x="306" y="264"/>
                  </a:lnTo>
                  <a:lnTo>
                    <a:pt x="303" y="256"/>
                  </a:lnTo>
                  <a:lnTo>
                    <a:pt x="301" y="252"/>
                  </a:lnTo>
                  <a:lnTo>
                    <a:pt x="299" y="24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6" name="Freeform 1383"/>
            <p:cNvSpPr>
              <a:spLocks/>
            </p:cNvSpPr>
            <p:nvPr/>
          </p:nvSpPr>
          <p:spPr bwMode="auto">
            <a:xfrm rot="18897611" flipH="1">
              <a:off x="2688937" y="2520392"/>
              <a:ext cx="384433" cy="358052"/>
            </a:xfrm>
            <a:custGeom>
              <a:avLst/>
              <a:gdLst>
                <a:gd name="T0" fmla="*/ 299 w 306"/>
                <a:gd name="T1" fmla="*/ 249 h 286"/>
                <a:gd name="T2" fmla="*/ 35 w 306"/>
                <a:gd name="T3" fmla="*/ 6 h 286"/>
                <a:gd name="T4" fmla="*/ 35 w 306"/>
                <a:gd name="T5" fmla="*/ 6 h 286"/>
                <a:gd name="T6" fmla="*/ 29 w 306"/>
                <a:gd name="T7" fmla="*/ 1 h 286"/>
                <a:gd name="T8" fmla="*/ 20 w 306"/>
                <a:gd name="T9" fmla="*/ 0 h 286"/>
                <a:gd name="T10" fmla="*/ 13 w 306"/>
                <a:gd name="T11" fmla="*/ 3 h 286"/>
                <a:gd name="T12" fmla="*/ 9 w 306"/>
                <a:gd name="T13" fmla="*/ 4 h 286"/>
                <a:gd name="T14" fmla="*/ 6 w 306"/>
                <a:gd name="T15" fmla="*/ 7 h 286"/>
                <a:gd name="T16" fmla="*/ 6 w 306"/>
                <a:gd name="T17" fmla="*/ 7 h 286"/>
                <a:gd name="T18" fmla="*/ 1 w 306"/>
                <a:gd name="T19" fmla="*/ 14 h 286"/>
                <a:gd name="T20" fmla="*/ 0 w 306"/>
                <a:gd name="T21" fmla="*/ 23 h 286"/>
                <a:gd name="T22" fmla="*/ 1 w 306"/>
                <a:gd name="T23" fmla="*/ 30 h 286"/>
                <a:gd name="T24" fmla="*/ 4 w 306"/>
                <a:gd name="T25" fmla="*/ 33 h 286"/>
                <a:gd name="T26" fmla="*/ 7 w 306"/>
                <a:gd name="T27" fmla="*/ 38 h 286"/>
                <a:gd name="T28" fmla="*/ 269 w 306"/>
                <a:gd name="T29" fmla="*/ 281 h 286"/>
                <a:gd name="T30" fmla="*/ 269 w 306"/>
                <a:gd name="T31" fmla="*/ 281 h 286"/>
                <a:gd name="T32" fmla="*/ 277 w 306"/>
                <a:gd name="T33" fmla="*/ 286 h 286"/>
                <a:gd name="T34" fmla="*/ 285 w 306"/>
                <a:gd name="T35" fmla="*/ 286 h 286"/>
                <a:gd name="T36" fmla="*/ 293 w 306"/>
                <a:gd name="T37" fmla="*/ 284 h 286"/>
                <a:gd name="T38" fmla="*/ 297 w 306"/>
                <a:gd name="T39" fmla="*/ 283 h 286"/>
                <a:gd name="T40" fmla="*/ 300 w 306"/>
                <a:gd name="T41" fmla="*/ 280 h 286"/>
                <a:gd name="T42" fmla="*/ 300 w 306"/>
                <a:gd name="T43" fmla="*/ 280 h 286"/>
                <a:gd name="T44" fmla="*/ 304 w 306"/>
                <a:gd name="T45" fmla="*/ 272 h 286"/>
                <a:gd name="T46" fmla="*/ 306 w 306"/>
                <a:gd name="T47" fmla="*/ 264 h 286"/>
                <a:gd name="T48" fmla="*/ 303 w 306"/>
                <a:gd name="T49" fmla="*/ 256 h 286"/>
                <a:gd name="T50" fmla="*/ 301 w 306"/>
                <a:gd name="T51" fmla="*/ 252 h 286"/>
                <a:gd name="T52" fmla="*/ 299 w 306"/>
                <a:gd name="T53" fmla="*/ 24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6" h="286">
                  <a:moveTo>
                    <a:pt x="299" y="249"/>
                  </a:moveTo>
                  <a:lnTo>
                    <a:pt x="35" y="6"/>
                  </a:lnTo>
                  <a:lnTo>
                    <a:pt x="35" y="6"/>
                  </a:lnTo>
                  <a:lnTo>
                    <a:pt x="29" y="1"/>
                  </a:lnTo>
                  <a:lnTo>
                    <a:pt x="20" y="0"/>
                  </a:lnTo>
                  <a:lnTo>
                    <a:pt x="13" y="3"/>
                  </a:lnTo>
                  <a:lnTo>
                    <a:pt x="9" y="4"/>
                  </a:lnTo>
                  <a:lnTo>
                    <a:pt x="6" y="7"/>
                  </a:lnTo>
                  <a:lnTo>
                    <a:pt x="6" y="7"/>
                  </a:lnTo>
                  <a:lnTo>
                    <a:pt x="1" y="14"/>
                  </a:lnTo>
                  <a:lnTo>
                    <a:pt x="0" y="23"/>
                  </a:lnTo>
                  <a:lnTo>
                    <a:pt x="1" y="30"/>
                  </a:lnTo>
                  <a:lnTo>
                    <a:pt x="4" y="33"/>
                  </a:lnTo>
                  <a:lnTo>
                    <a:pt x="7" y="38"/>
                  </a:lnTo>
                  <a:lnTo>
                    <a:pt x="269" y="281"/>
                  </a:lnTo>
                  <a:lnTo>
                    <a:pt x="269" y="281"/>
                  </a:lnTo>
                  <a:lnTo>
                    <a:pt x="277" y="286"/>
                  </a:lnTo>
                  <a:lnTo>
                    <a:pt x="285" y="286"/>
                  </a:lnTo>
                  <a:lnTo>
                    <a:pt x="293" y="284"/>
                  </a:lnTo>
                  <a:lnTo>
                    <a:pt x="297" y="283"/>
                  </a:lnTo>
                  <a:lnTo>
                    <a:pt x="300" y="280"/>
                  </a:lnTo>
                  <a:lnTo>
                    <a:pt x="300" y="280"/>
                  </a:lnTo>
                  <a:lnTo>
                    <a:pt x="304" y="272"/>
                  </a:lnTo>
                  <a:lnTo>
                    <a:pt x="306" y="264"/>
                  </a:lnTo>
                  <a:lnTo>
                    <a:pt x="303" y="256"/>
                  </a:lnTo>
                  <a:lnTo>
                    <a:pt x="301" y="252"/>
                  </a:lnTo>
                  <a:lnTo>
                    <a:pt x="299" y="24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87" name="Group 86"/>
            <p:cNvGrpSpPr/>
            <p:nvPr/>
          </p:nvGrpSpPr>
          <p:grpSpPr>
            <a:xfrm flipH="1">
              <a:off x="2902806" y="2515427"/>
              <a:ext cx="203523" cy="101763"/>
              <a:chOff x="9114825" y="2531692"/>
              <a:chExt cx="178844" cy="89423"/>
            </a:xfrm>
            <a:solidFill>
              <a:schemeClr val="bg1"/>
            </a:solidFill>
          </p:grpSpPr>
          <p:sp>
            <p:nvSpPr>
              <p:cNvPr id="88" name="Freeform 1369"/>
              <p:cNvSpPr>
                <a:spLocks/>
              </p:cNvSpPr>
              <p:nvPr/>
            </p:nvSpPr>
            <p:spPr bwMode="auto">
              <a:xfrm>
                <a:off x="9114825" y="2531692"/>
                <a:ext cx="178844" cy="89423"/>
              </a:xfrm>
              <a:custGeom>
                <a:avLst/>
                <a:gdLst>
                  <a:gd name="T0" fmla="*/ 108 w 162"/>
                  <a:gd name="T1" fmla="*/ 4 h 81"/>
                  <a:gd name="T2" fmla="*/ 108 w 162"/>
                  <a:gd name="T3" fmla="*/ 4 h 81"/>
                  <a:gd name="T4" fmla="*/ 124 w 162"/>
                  <a:gd name="T5" fmla="*/ 8 h 81"/>
                  <a:gd name="T6" fmla="*/ 136 w 162"/>
                  <a:gd name="T7" fmla="*/ 13 h 81"/>
                  <a:gd name="T8" fmla="*/ 146 w 162"/>
                  <a:gd name="T9" fmla="*/ 19 h 81"/>
                  <a:gd name="T10" fmla="*/ 155 w 162"/>
                  <a:gd name="T11" fmla="*/ 24 h 81"/>
                  <a:gd name="T12" fmla="*/ 159 w 162"/>
                  <a:gd name="T13" fmla="*/ 32 h 81"/>
                  <a:gd name="T14" fmla="*/ 162 w 162"/>
                  <a:gd name="T15" fmla="*/ 39 h 81"/>
                  <a:gd name="T16" fmla="*/ 162 w 162"/>
                  <a:gd name="T17" fmla="*/ 48 h 81"/>
                  <a:gd name="T18" fmla="*/ 161 w 162"/>
                  <a:gd name="T19" fmla="*/ 56 h 81"/>
                  <a:gd name="T20" fmla="*/ 161 w 162"/>
                  <a:gd name="T21" fmla="*/ 56 h 81"/>
                  <a:gd name="T22" fmla="*/ 158 w 162"/>
                  <a:gd name="T23" fmla="*/ 65 h 81"/>
                  <a:gd name="T24" fmla="*/ 153 w 162"/>
                  <a:gd name="T25" fmla="*/ 71 h 81"/>
                  <a:gd name="T26" fmla="*/ 146 w 162"/>
                  <a:gd name="T27" fmla="*/ 77 h 81"/>
                  <a:gd name="T28" fmla="*/ 139 w 162"/>
                  <a:gd name="T29" fmla="*/ 80 h 81"/>
                  <a:gd name="T30" fmla="*/ 130 w 162"/>
                  <a:gd name="T31" fmla="*/ 81 h 81"/>
                  <a:gd name="T32" fmla="*/ 119 w 162"/>
                  <a:gd name="T33" fmla="*/ 80 h 81"/>
                  <a:gd name="T34" fmla="*/ 105 w 162"/>
                  <a:gd name="T35" fmla="*/ 78 h 81"/>
                  <a:gd name="T36" fmla="*/ 89 w 162"/>
                  <a:gd name="T37" fmla="*/ 74 h 81"/>
                  <a:gd name="T38" fmla="*/ 89 w 162"/>
                  <a:gd name="T39" fmla="*/ 74 h 81"/>
                  <a:gd name="T40" fmla="*/ 73 w 162"/>
                  <a:gd name="T41" fmla="*/ 68 h 81"/>
                  <a:gd name="T42" fmla="*/ 57 w 162"/>
                  <a:gd name="T43" fmla="*/ 59 h 81"/>
                  <a:gd name="T44" fmla="*/ 41 w 162"/>
                  <a:gd name="T45" fmla="*/ 48 h 81"/>
                  <a:gd name="T46" fmla="*/ 28 w 162"/>
                  <a:gd name="T47" fmla="*/ 38 h 81"/>
                  <a:gd name="T48" fmla="*/ 8 w 162"/>
                  <a:gd name="T49" fmla="*/ 19 h 81"/>
                  <a:gd name="T50" fmla="*/ 0 w 162"/>
                  <a:gd name="T51" fmla="*/ 10 h 81"/>
                  <a:gd name="T52" fmla="*/ 0 w 162"/>
                  <a:gd name="T53" fmla="*/ 10 h 81"/>
                  <a:gd name="T54" fmla="*/ 11 w 162"/>
                  <a:gd name="T55" fmla="*/ 7 h 81"/>
                  <a:gd name="T56" fmla="*/ 38 w 162"/>
                  <a:gd name="T57" fmla="*/ 3 h 81"/>
                  <a:gd name="T58" fmla="*/ 54 w 162"/>
                  <a:gd name="T59" fmla="*/ 0 h 81"/>
                  <a:gd name="T60" fmla="*/ 73 w 162"/>
                  <a:gd name="T61" fmla="*/ 0 h 81"/>
                  <a:gd name="T62" fmla="*/ 91 w 162"/>
                  <a:gd name="T63" fmla="*/ 0 h 81"/>
                  <a:gd name="T64" fmla="*/ 108 w 162"/>
                  <a:gd name="T65" fmla="*/ 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81">
                    <a:moveTo>
                      <a:pt x="108" y="4"/>
                    </a:moveTo>
                    <a:lnTo>
                      <a:pt x="108" y="4"/>
                    </a:lnTo>
                    <a:lnTo>
                      <a:pt x="124" y="8"/>
                    </a:lnTo>
                    <a:lnTo>
                      <a:pt x="136" y="13"/>
                    </a:lnTo>
                    <a:lnTo>
                      <a:pt x="146" y="19"/>
                    </a:lnTo>
                    <a:lnTo>
                      <a:pt x="155" y="24"/>
                    </a:lnTo>
                    <a:lnTo>
                      <a:pt x="159" y="32"/>
                    </a:lnTo>
                    <a:lnTo>
                      <a:pt x="162" y="39"/>
                    </a:lnTo>
                    <a:lnTo>
                      <a:pt x="162" y="48"/>
                    </a:lnTo>
                    <a:lnTo>
                      <a:pt x="161" y="56"/>
                    </a:lnTo>
                    <a:lnTo>
                      <a:pt x="161" y="56"/>
                    </a:lnTo>
                    <a:lnTo>
                      <a:pt x="158" y="65"/>
                    </a:lnTo>
                    <a:lnTo>
                      <a:pt x="153" y="71"/>
                    </a:lnTo>
                    <a:lnTo>
                      <a:pt x="146" y="77"/>
                    </a:lnTo>
                    <a:lnTo>
                      <a:pt x="139" y="80"/>
                    </a:lnTo>
                    <a:lnTo>
                      <a:pt x="130" y="81"/>
                    </a:lnTo>
                    <a:lnTo>
                      <a:pt x="119" y="80"/>
                    </a:lnTo>
                    <a:lnTo>
                      <a:pt x="105" y="78"/>
                    </a:lnTo>
                    <a:lnTo>
                      <a:pt x="89" y="74"/>
                    </a:lnTo>
                    <a:lnTo>
                      <a:pt x="89" y="74"/>
                    </a:lnTo>
                    <a:lnTo>
                      <a:pt x="73" y="68"/>
                    </a:lnTo>
                    <a:lnTo>
                      <a:pt x="57" y="59"/>
                    </a:lnTo>
                    <a:lnTo>
                      <a:pt x="41" y="48"/>
                    </a:lnTo>
                    <a:lnTo>
                      <a:pt x="28" y="38"/>
                    </a:lnTo>
                    <a:lnTo>
                      <a:pt x="8" y="19"/>
                    </a:lnTo>
                    <a:lnTo>
                      <a:pt x="0" y="10"/>
                    </a:lnTo>
                    <a:lnTo>
                      <a:pt x="0" y="10"/>
                    </a:lnTo>
                    <a:lnTo>
                      <a:pt x="11" y="7"/>
                    </a:lnTo>
                    <a:lnTo>
                      <a:pt x="38" y="3"/>
                    </a:lnTo>
                    <a:lnTo>
                      <a:pt x="54" y="0"/>
                    </a:lnTo>
                    <a:lnTo>
                      <a:pt x="73" y="0"/>
                    </a:lnTo>
                    <a:lnTo>
                      <a:pt x="91" y="0"/>
                    </a:lnTo>
                    <a:lnTo>
                      <a:pt x="10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370"/>
              <p:cNvSpPr>
                <a:spLocks/>
              </p:cNvSpPr>
              <p:nvPr/>
            </p:nvSpPr>
            <p:spPr bwMode="auto">
              <a:xfrm>
                <a:off x="9114825" y="2531692"/>
                <a:ext cx="178844" cy="89423"/>
              </a:xfrm>
              <a:custGeom>
                <a:avLst/>
                <a:gdLst>
                  <a:gd name="T0" fmla="*/ 108 w 162"/>
                  <a:gd name="T1" fmla="*/ 4 h 81"/>
                  <a:gd name="T2" fmla="*/ 108 w 162"/>
                  <a:gd name="T3" fmla="*/ 4 h 81"/>
                  <a:gd name="T4" fmla="*/ 124 w 162"/>
                  <a:gd name="T5" fmla="*/ 8 h 81"/>
                  <a:gd name="T6" fmla="*/ 136 w 162"/>
                  <a:gd name="T7" fmla="*/ 13 h 81"/>
                  <a:gd name="T8" fmla="*/ 146 w 162"/>
                  <a:gd name="T9" fmla="*/ 19 h 81"/>
                  <a:gd name="T10" fmla="*/ 155 w 162"/>
                  <a:gd name="T11" fmla="*/ 24 h 81"/>
                  <a:gd name="T12" fmla="*/ 159 w 162"/>
                  <a:gd name="T13" fmla="*/ 32 h 81"/>
                  <a:gd name="T14" fmla="*/ 162 w 162"/>
                  <a:gd name="T15" fmla="*/ 39 h 81"/>
                  <a:gd name="T16" fmla="*/ 162 w 162"/>
                  <a:gd name="T17" fmla="*/ 48 h 81"/>
                  <a:gd name="T18" fmla="*/ 161 w 162"/>
                  <a:gd name="T19" fmla="*/ 56 h 81"/>
                  <a:gd name="T20" fmla="*/ 161 w 162"/>
                  <a:gd name="T21" fmla="*/ 56 h 81"/>
                  <a:gd name="T22" fmla="*/ 158 w 162"/>
                  <a:gd name="T23" fmla="*/ 65 h 81"/>
                  <a:gd name="T24" fmla="*/ 153 w 162"/>
                  <a:gd name="T25" fmla="*/ 71 h 81"/>
                  <a:gd name="T26" fmla="*/ 146 w 162"/>
                  <a:gd name="T27" fmla="*/ 77 h 81"/>
                  <a:gd name="T28" fmla="*/ 139 w 162"/>
                  <a:gd name="T29" fmla="*/ 80 h 81"/>
                  <a:gd name="T30" fmla="*/ 130 w 162"/>
                  <a:gd name="T31" fmla="*/ 81 h 81"/>
                  <a:gd name="T32" fmla="*/ 119 w 162"/>
                  <a:gd name="T33" fmla="*/ 80 h 81"/>
                  <a:gd name="T34" fmla="*/ 105 w 162"/>
                  <a:gd name="T35" fmla="*/ 78 h 81"/>
                  <a:gd name="T36" fmla="*/ 89 w 162"/>
                  <a:gd name="T37" fmla="*/ 74 h 81"/>
                  <a:gd name="T38" fmla="*/ 89 w 162"/>
                  <a:gd name="T39" fmla="*/ 74 h 81"/>
                  <a:gd name="T40" fmla="*/ 73 w 162"/>
                  <a:gd name="T41" fmla="*/ 68 h 81"/>
                  <a:gd name="T42" fmla="*/ 57 w 162"/>
                  <a:gd name="T43" fmla="*/ 59 h 81"/>
                  <a:gd name="T44" fmla="*/ 41 w 162"/>
                  <a:gd name="T45" fmla="*/ 48 h 81"/>
                  <a:gd name="T46" fmla="*/ 28 w 162"/>
                  <a:gd name="T47" fmla="*/ 38 h 81"/>
                  <a:gd name="T48" fmla="*/ 8 w 162"/>
                  <a:gd name="T49" fmla="*/ 19 h 81"/>
                  <a:gd name="T50" fmla="*/ 0 w 162"/>
                  <a:gd name="T51" fmla="*/ 10 h 81"/>
                  <a:gd name="T52" fmla="*/ 0 w 162"/>
                  <a:gd name="T53" fmla="*/ 10 h 81"/>
                  <a:gd name="T54" fmla="*/ 11 w 162"/>
                  <a:gd name="T55" fmla="*/ 7 h 81"/>
                  <a:gd name="T56" fmla="*/ 38 w 162"/>
                  <a:gd name="T57" fmla="*/ 3 h 81"/>
                  <a:gd name="T58" fmla="*/ 54 w 162"/>
                  <a:gd name="T59" fmla="*/ 0 h 81"/>
                  <a:gd name="T60" fmla="*/ 73 w 162"/>
                  <a:gd name="T61" fmla="*/ 0 h 81"/>
                  <a:gd name="T62" fmla="*/ 91 w 162"/>
                  <a:gd name="T63" fmla="*/ 0 h 81"/>
                  <a:gd name="T64" fmla="*/ 108 w 162"/>
                  <a:gd name="T65" fmla="*/ 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81">
                    <a:moveTo>
                      <a:pt x="108" y="4"/>
                    </a:moveTo>
                    <a:lnTo>
                      <a:pt x="108" y="4"/>
                    </a:lnTo>
                    <a:lnTo>
                      <a:pt x="124" y="8"/>
                    </a:lnTo>
                    <a:lnTo>
                      <a:pt x="136" y="13"/>
                    </a:lnTo>
                    <a:lnTo>
                      <a:pt x="146" y="19"/>
                    </a:lnTo>
                    <a:lnTo>
                      <a:pt x="155" y="24"/>
                    </a:lnTo>
                    <a:lnTo>
                      <a:pt x="159" y="32"/>
                    </a:lnTo>
                    <a:lnTo>
                      <a:pt x="162" y="39"/>
                    </a:lnTo>
                    <a:lnTo>
                      <a:pt x="162" y="48"/>
                    </a:lnTo>
                    <a:lnTo>
                      <a:pt x="161" y="56"/>
                    </a:lnTo>
                    <a:lnTo>
                      <a:pt x="161" y="56"/>
                    </a:lnTo>
                    <a:lnTo>
                      <a:pt x="158" y="65"/>
                    </a:lnTo>
                    <a:lnTo>
                      <a:pt x="153" y="71"/>
                    </a:lnTo>
                    <a:lnTo>
                      <a:pt x="146" y="77"/>
                    </a:lnTo>
                    <a:lnTo>
                      <a:pt x="139" y="80"/>
                    </a:lnTo>
                    <a:lnTo>
                      <a:pt x="130" y="81"/>
                    </a:lnTo>
                    <a:lnTo>
                      <a:pt x="119" y="80"/>
                    </a:lnTo>
                    <a:lnTo>
                      <a:pt x="105" y="78"/>
                    </a:lnTo>
                    <a:lnTo>
                      <a:pt x="89" y="74"/>
                    </a:lnTo>
                    <a:lnTo>
                      <a:pt x="89" y="74"/>
                    </a:lnTo>
                    <a:lnTo>
                      <a:pt x="73" y="68"/>
                    </a:lnTo>
                    <a:lnTo>
                      <a:pt x="57" y="59"/>
                    </a:lnTo>
                    <a:lnTo>
                      <a:pt x="41" y="48"/>
                    </a:lnTo>
                    <a:lnTo>
                      <a:pt x="28" y="38"/>
                    </a:lnTo>
                    <a:lnTo>
                      <a:pt x="8" y="19"/>
                    </a:lnTo>
                    <a:lnTo>
                      <a:pt x="0" y="10"/>
                    </a:lnTo>
                    <a:lnTo>
                      <a:pt x="0" y="10"/>
                    </a:lnTo>
                    <a:lnTo>
                      <a:pt x="11" y="7"/>
                    </a:lnTo>
                    <a:lnTo>
                      <a:pt x="38" y="3"/>
                    </a:lnTo>
                    <a:lnTo>
                      <a:pt x="54" y="0"/>
                    </a:lnTo>
                    <a:lnTo>
                      <a:pt x="73" y="0"/>
                    </a:lnTo>
                    <a:lnTo>
                      <a:pt x="91" y="0"/>
                    </a:lnTo>
                    <a:lnTo>
                      <a:pt x="108" y="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371"/>
              <p:cNvSpPr>
                <a:spLocks/>
              </p:cNvSpPr>
              <p:nvPr/>
            </p:nvSpPr>
            <p:spPr bwMode="auto">
              <a:xfrm>
                <a:off x="9114825" y="2544940"/>
                <a:ext cx="178844" cy="76175"/>
              </a:xfrm>
              <a:custGeom>
                <a:avLst/>
                <a:gdLst>
                  <a:gd name="T0" fmla="*/ 0 w 161"/>
                  <a:gd name="T1" fmla="*/ 0 h 71"/>
                  <a:gd name="T2" fmla="*/ 161 w 161"/>
                  <a:gd name="T3" fmla="*/ 46 h 71"/>
                  <a:gd name="T4" fmla="*/ 161 w 161"/>
                  <a:gd name="T5" fmla="*/ 46 h 71"/>
                  <a:gd name="T6" fmla="*/ 161 w 161"/>
                  <a:gd name="T7" fmla="*/ 49 h 71"/>
                  <a:gd name="T8" fmla="*/ 158 w 161"/>
                  <a:gd name="T9" fmla="*/ 55 h 71"/>
                  <a:gd name="T10" fmla="*/ 156 w 161"/>
                  <a:gd name="T11" fmla="*/ 60 h 71"/>
                  <a:gd name="T12" fmla="*/ 152 w 161"/>
                  <a:gd name="T13" fmla="*/ 63 h 71"/>
                  <a:gd name="T14" fmla="*/ 148 w 161"/>
                  <a:gd name="T15" fmla="*/ 65 h 71"/>
                  <a:gd name="T16" fmla="*/ 142 w 161"/>
                  <a:gd name="T17" fmla="*/ 68 h 71"/>
                  <a:gd name="T18" fmla="*/ 142 w 161"/>
                  <a:gd name="T19" fmla="*/ 68 h 71"/>
                  <a:gd name="T20" fmla="*/ 133 w 161"/>
                  <a:gd name="T21" fmla="*/ 71 h 71"/>
                  <a:gd name="T22" fmla="*/ 123 w 161"/>
                  <a:gd name="T23" fmla="*/ 71 h 71"/>
                  <a:gd name="T24" fmla="*/ 111 w 161"/>
                  <a:gd name="T25" fmla="*/ 70 h 71"/>
                  <a:gd name="T26" fmla="*/ 97 w 161"/>
                  <a:gd name="T27" fmla="*/ 67 h 71"/>
                  <a:gd name="T28" fmla="*/ 97 w 161"/>
                  <a:gd name="T29" fmla="*/ 67 h 71"/>
                  <a:gd name="T30" fmla="*/ 86 w 161"/>
                  <a:gd name="T31" fmla="*/ 64 h 71"/>
                  <a:gd name="T32" fmla="*/ 76 w 161"/>
                  <a:gd name="T33" fmla="*/ 60 h 71"/>
                  <a:gd name="T34" fmla="*/ 59 w 161"/>
                  <a:gd name="T35" fmla="*/ 51 h 71"/>
                  <a:gd name="T36" fmla="*/ 43 w 161"/>
                  <a:gd name="T37" fmla="*/ 39 h 71"/>
                  <a:gd name="T38" fmla="*/ 28 w 161"/>
                  <a:gd name="T39" fmla="*/ 28 h 71"/>
                  <a:gd name="T40" fmla="*/ 17 w 161"/>
                  <a:gd name="T41" fmla="*/ 17 h 71"/>
                  <a:gd name="T42" fmla="*/ 8 w 161"/>
                  <a:gd name="T43" fmla="*/ 9 h 71"/>
                  <a:gd name="T44" fmla="*/ 0 w 161"/>
                  <a:gd name="T4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 h="71">
                    <a:moveTo>
                      <a:pt x="0" y="0"/>
                    </a:moveTo>
                    <a:lnTo>
                      <a:pt x="161" y="46"/>
                    </a:lnTo>
                    <a:lnTo>
                      <a:pt x="161" y="46"/>
                    </a:lnTo>
                    <a:lnTo>
                      <a:pt x="161" y="49"/>
                    </a:lnTo>
                    <a:lnTo>
                      <a:pt x="158" y="55"/>
                    </a:lnTo>
                    <a:lnTo>
                      <a:pt x="156" y="60"/>
                    </a:lnTo>
                    <a:lnTo>
                      <a:pt x="152" y="63"/>
                    </a:lnTo>
                    <a:lnTo>
                      <a:pt x="148" y="65"/>
                    </a:lnTo>
                    <a:lnTo>
                      <a:pt x="142" y="68"/>
                    </a:lnTo>
                    <a:lnTo>
                      <a:pt x="142" y="68"/>
                    </a:lnTo>
                    <a:lnTo>
                      <a:pt x="133" y="71"/>
                    </a:lnTo>
                    <a:lnTo>
                      <a:pt x="123" y="71"/>
                    </a:lnTo>
                    <a:lnTo>
                      <a:pt x="111" y="70"/>
                    </a:lnTo>
                    <a:lnTo>
                      <a:pt x="97" y="67"/>
                    </a:lnTo>
                    <a:lnTo>
                      <a:pt x="97" y="67"/>
                    </a:lnTo>
                    <a:lnTo>
                      <a:pt x="86" y="64"/>
                    </a:lnTo>
                    <a:lnTo>
                      <a:pt x="76" y="60"/>
                    </a:lnTo>
                    <a:lnTo>
                      <a:pt x="59" y="51"/>
                    </a:lnTo>
                    <a:lnTo>
                      <a:pt x="43" y="39"/>
                    </a:lnTo>
                    <a:lnTo>
                      <a:pt x="28" y="28"/>
                    </a:lnTo>
                    <a:lnTo>
                      <a:pt x="17" y="17"/>
                    </a:lnTo>
                    <a:lnTo>
                      <a:pt x="8" y="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372"/>
              <p:cNvSpPr>
                <a:spLocks/>
              </p:cNvSpPr>
              <p:nvPr/>
            </p:nvSpPr>
            <p:spPr bwMode="auto">
              <a:xfrm>
                <a:off x="9114825" y="2544940"/>
                <a:ext cx="178844" cy="76175"/>
              </a:xfrm>
              <a:custGeom>
                <a:avLst/>
                <a:gdLst>
                  <a:gd name="T0" fmla="*/ 0 w 161"/>
                  <a:gd name="T1" fmla="*/ 0 h 71"/>
                  <a:gd name="T2" fmla="*/ 161 w 161"/>
                  <a:gd name="T3" fmla="*/ 46 h 71"/>
                  <a:gd name="T4" fmla="*/ 161 w 161"/>
                  <a:gd name="T5" fmla="*/ 46 h 71"/>
                  <a:gd name="T6" fmla="*/ 161 w 161"/>
                  <a:gd name="T7" fmla="*/ 49 h 71"/>
                  <a:gd name="T8" fmla="*/ 158 w 161"/>
                  <a:gd name="T9" fmla="*/ 55 h 71"/>
                  <a:gd name="T10" fmla="*/ 156 w 161"/>
                  <a:gd name="T11" fmla="*/ 60 h 71"/>
                  <a:gd name="T12" fmla="*/ 152 w 161"/>
                  <a:gd name="T13" fmla="*/ 63 h 71"/>
                  <a:gd name="T14" fmla="*/ 148 w 161"/>
                  <a:gd name="T15" fmla="*/ 65 h 71"/>
                  <a:gd name="T16" fmla="*/ 142 w 161"/>
                  <a:gd name="T17" fmla="*/ 68 h 71"/>
                  <a:gd name="T18" fmla="*/ 142 w 161"/>
                  <a:gd name="T19" fmla="*/ 68 h 71"/>
                  <a:gd name="T20" fmla="*/ 133 w 161"/>
                  <a:gd name="T21" fmla="*/ 71 h 71"/>
                  <a:gd name="T22" fmla="*/ 123 w 161"/>
                  <a:gd name="T23" fmla="*/ 71 h 71"/>
                  <a:gd name="T24" fmla="*/ 111 w 161"/>
                  <a:gd name="T25" fmla="*/ 70 h 71"/>
                  <a:gd name="T26" fmla="*/ 97 w 161"/>
                  <a:gd name="T27" fmla="*/ 67 h 71"/>
                  <a:gd name="T28" fmla="*/ 97 w 161"/>
                  <a:gd name="T29" fmla="*/ 67 h 71"/>
                  <a:gd name="T30" fmla="*/ 86 w 161"/>
                  <a:gd name="T31" fmla="*/ 64 h 71"/>
                  <a:gd name="T32" fmla="*/ 76 w 161"/>
                  <a:gd name="T33" fmla="*/ 60 h 71"/>
                  <a:gd name="T34" fmla="*/ 59 w 161"/>
                  <a:gd name="T35" fmla="*/ 51 h 71"/>
                  <a:gd name="T36" fmla="*/ 43 w 161"/>
                  <a:gd name="T37" fmla="*/ 39 h 71"/>
                  <a:gd name="T38" fmla="*/ 28 w 161"/>
                  <a:gd name="T39" fmla="*/ 28 h 71"/>
                  <a:gd name="T40" fmla="*/ 17 w 161"/>
                  <a:gd name="T41" fmla="*/ 17 h 71"/>
                  <a:gd name="T42" fmla="*/ 8 w 161"/>
                  <a:gd name="T43" fmla="*/ 9 h 71"/>
                  <a:gd name="T44" fmla="*/ 0 w 161"/>
                  <a:gd name="T4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 h="71">
                    <a:moveTo>
                      <a:pt x="0" y="0"/>
                    </a:moveTo>
                    <a:lnTo>
                      <a:pt x="161" y="46"/>
                    </a:lnTo>
                    <a:lnTo>
                      <a:pt x="161" y="46"/>
                    </a:lnTo>
                    <a:lnTo>
                      <a:pt x="161" y="49"/>
                    </a:lnTo>
                    <a:lnTo>
                      <a:pt x="158" y="55"/>
                    </a:lnTo>
                    <a:lnTo>
                      <a:pt x="156" y="60"/>
                    </a:lnTo>
                    <a:lnTo>
                      <a:pt x="152" y="63"/>
                    </a:lnTo>
                    <a:lnTo>
                      <a:pt x="148" y="65"/>
                    </a:lnTo>
                    <a:lnTo>
                      <a:pt x="142" y="68"/>
                    </a:lnTo>
                    <a:lnTo>
                      <a:pt x="142" y="68"/>
                    </a:lnTo>
                    <a:lnTo>
                      <a:pt x="133" y="71"/>
                    </a:lnTo>
                    <a:lnTo>
                      <a:pt x="123" y="71"/>
                    </a:lnTo>
                    <a:lnTo>
                      <a:pt x="111" y="70"/>
                    </a:lnTo>
                    <a:lnTo>
                      <a:pt x="97" y="67"/>
                    </a:lnTo>
                    <a:lnTo>
                      <a:pt x="97" y="67"/>
                    </a:lnTo>
                    <a:lnTo>
                      <a:pt x="86" y="64"/>
                    </a:lnTo>
                    <a:lnTo>
                      <a:pt x="76" y="60"/>
                    </a:lnTo>
                    <a:lnTo>
                      <a:pt x="59" y="51"/>
                    </a:lnTo>
                    <a:lnTo>
                      <a:pt x="43" y="39"/>
                    </a:lnTo>
                    <a:lnTo>
                      <a:pt x="28" y="28"/>
                    </a:lnTo>
                    <a:lnTo>
                      <a:pt x="17" y="17"/>
                    </a:lnTo>
                    <a:lnTo>
                      <a:pt x="8" y="9"/>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3" name="Straight Connector 2"/>
          <p:cNvCxnSpPr/>
          <p:nvPr/>
        </p:nvCxnSpPr>
        <p:spPr>
          <a:xfrm>
            <a:off x="2574035" y="4249124"/>
            <a:ext cx="72231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3469734" y="4299385"/>
            <a:ext cx="1349010" cy="523220"/>
          </a:xfrm>
          <a:prstGeom prst="rect">
            <a:avLst/>
          </a:prstGeom>
          <a:solidFill>
            <a:schemeClr val="bg1">
              <a:lumMod val="95000"/>
            </a:schemeClr>
          </a:solidFill>
        </p:spPr>
        <p:txBody>
          <a:bodyPr wrap="square" anchor="ctr">
            <a:spAutoFit/>
          </a:bodyPr>
          <a:lstStyle/>
          <a:p>
            <a:pPr algn="ctr">
              <a:buClr>
                <a:srgbClr val="E24848"/>
              </a:buClr>
              <a:defRPr/>
            </a:pPr>
            <a:r>
              <a:rPr lang="en-US" sz="1400" noProof="1">
                <a:solidFill>
                  <a:schemeClr val="accent1"/>
                </a:solidFill>
                <a:latin typeface="+mj-lt"/>
                <a:ea typeface="Open Sans Light" panose="020B0306030504020204" pitchFamily="34" charset="0"/>
                <a:cs typeface="Open Sans Light" panose="020B0306030504020204" pitchFamily="34" charset="0"/>
              </a:rPr>
              <a:t>Dieudonne Ouedraogo</a:t>
            </a:r>
          </a:p>
        </p:txBody>
      </p:sp>
      <p:sp>
        <p:nvSpPr>
          <p:cNvPr id="93" name="Rectangle 92"/>
          <p:cNvSpPr/>
          <p:nvPr/>
        </p:nvSpPr>
        <p:spPr>
          <a:xfrm>
            <a:off x="4818744" y="4407106"/>
            <a:ext cx="1349010" cy="307777"/>
          </a:xfrm>
          <a:prstGeom prst="rect">
            <a:avLst/>
          </a:prstGeom>
          <a:solidFill>
            <a:schemeClr val="accent2"/>
          </a:solidFill>
        </p:spPr>
        <p:txBody>
          <a:bodyPr wrap="square" anchor="ctr">
            <a:spAutoFit/>
          </a:bodyPr>
          <a:lstStyle/>
          <a:p>
            <a:pPr algn="ctr">
              <a:buClr>
                <a:srgbClr val="E24848"/>
              </a:buClr>
              <a:defRPr/>
            </a:pPr>
            <a:r>
              <a:rPr lang="en-US" sz="1400" noProof="1">
                <a:solidFill>
                  <a:schemeClr val="bg1"/>
                </a:solidFill>
                <a:latin typeface="+mj-lt"/>
                <a:ea typeface="Open Sans Light" panose="020B0306030504020204" pitchFamily="34" charset="0"/>
                <a:cs typeface="Open Sans Light" panose="020B0306030504020204" pitchFamily="34" charset="0"/>
              </a:rPr>
              <a:t>01/25/19</a:t>
            </a:r>
          </a:p>
        </p:txBody>
      </p:sp>
    </p:spTree>
    <p:extLst>
      <p:ext uri="{BB962C8B-B14F-4D97-AF65-F5344CB8AC3E}">
        <p14:creationId xmlns:p14="http://schemas.microsoft.com/office/powerpoint/2010/main" val="311612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10254196" y="6544632"/>
            <a:ext cx="1718730" cy="269257"/>
            <a:chOff x="10254196" y="5853934"/>
            <a:chExt cx="1718730" cy="269257"/>
          </a:xfrm>
        </p:grpSpPr>
        <p:sp>
          <p:nvSpPr>
            <p:cNvPr id="60" name="Rectangle 59"/>
            <p:cNvSpPr/>
            <p:nvPr/>
          </p:nvSpPr>
          <p:spPr>
            <a:xfrm>
              <a:off x="10254196" y="5853934"/>
              <a:ext cx="1247457" cy="261610"/>
            </a:xfrm>
            <a:prstGeom prst="rect">
              <a:avLst/>
            </a:prstGeom>
          </p:spPr>
          <p:txBody>
            <a:bodyPr wrap="none">
              <a:spAutoFit/>
            </a:bodyPr>
            <a:lstStyle/>
            <a:p>
              <a:pPr algn="r">
                <a:defRPr/>
              </a:pPr>
              <a:r>
                <a:rPr lang="en-US" sz="1100" dirty="0">
                  <a:solidFill>
                    <a:schemeClr val="tx1">
                      <a:lumMod val="50000"/>
                      <a:lumOff val="50000"/>
                    </a:schemeClr>
                  </a:solidFill>
                  <a:latin typeface="Source Sans Pro Light" panose="020B0403030403020204" pitchFamily="34" charset="0"/>
                  <a:ea typeface="Roboto" panose="02000000000000000000" pitchFamily="2" charset="0"/>
                </a:rPr>
                <a:t>www.comany.com</a:t>
              </a:r>
            </a:p>
          </p:txBody>
        </p:sp>
        <p:sp>
          <p:nvSpPr>
            <p:cNvPr id="63" name="Freeform 453"/>
            <p:cNvSpPr>
              <a:spLocks/>
            </p:cNvSpPr>
            <p:nvPr/>
          </p:nvSpPr>
          <p:spPr bwMode="auto">
            <a:xfrm>
              <a:off x="11497787" y="5928957"/>
              <a:ext cx="72243" cy="134554"/>
            </a:xfrm>
            <a:custGeom>
              <a:avLst/>
              <a:gdLst>
                <a:gd name="T0" fmla="*/ 307 w 317"/>
                <a:gd name="T1" fmla="*/ 596 h 596"/>
                <a:gd name="T2" fmla="*/ 303 w 317"/>
                <a:gd name="T3" fmla="*/ 595 h 596"/>
                <a:gd name="T4" fmla="*/ 300 w 317"/>
                <a:gd name="T5" fmla="*/ 593 h 596"/>
                <a:gd name="T6" fmla="*/ 3 w 317"/>
                <a:gd name="T7" fmla="*/ 304 h 596"/>
                <a:gd name="T8" fmla="*/ 0 w 317"/>
                <a:gd name="T9" fmla="*/ 301 h 596"/>
                <a:gd name="T10" fmla="*/ 0 w 317"/>
                <a:gd name="T11" fmla="*/ 298 h 596"/>
                <a:gd name="T12" fmla="*/ 0 w 317"/>
                <a:gd name="T13" fmla="*/ 293 h 596"/>
                <a:gd name="T14" fmla="*/ 3 w 317"/>
                <a:gd name="T15" fmla="*/ 290 h 596"/>
                <a:gd name="T16" fmla="*/ 300 w 317"/>
                <a:gd name="T17" fmla="*/ 2 h 596"/>
                <a:gd name="T18" fmla="*/ 303 w 317"/>
                <a:gd name="T19" fmla="*/ 0 h 596"/>
                <a:gd name="T20" fmla="*/ 307 w 317"/>
                <a:gd name="T21" fmla="*/ 0 h 596"/>
                <a:gd name="T22" fmla="*/ 311 w 317"/>
                <a:gd name="T23" fmla="*/ 1 h 596"/>
                <a:gd name="T24" fmla="*/ 314 w 317"/>
                <a:gd name="T25" fmla="*/ 3 h 596"/>
                <a:gd name="T26" fmla="*/ 316 w 317"/>
                <a:gd name="T27" fmla="*/ 6 h 596"/>
                <a:gd name="T28" fmla="*/ 317 w 317"/>
                <a:gd name="T29" fmla="*/ 9 h 596"/>
                <a:gd name="T30" fmla="*/ 316 w 317"/>
                <a:gd name="T31" fmla="*/ 14 h 596"/>
                <a:gd name="T32" fmla="*/ 314 w 317"/>
                <a:gd name="T33" fmla="*/ 17 h 596"/>
                <a:gd name="T34" fmla="*/ 23 w 317"/>
                <a:gd name="T35" fmla="*/ 298 h 596"/>
                <a:gd name="T36" fmla="*/ 314 w 317"/>
                <a:gd name="T37" fmla="*/ 578 h 596"/>
                <a:gd name="T38" fmla="*/ 316 w 317"/>
                <a:gd name="T39" fmla="*/ 582 h 596"/>
                <a:gd name="T40" fmla="*/ 317 w 317"/>
                <a:gd name="T41" fmla="*/ 585 h 596"/>
                <a:gd name="T42" fmla="*/ 316 w 317"/>
                <a:gd name="T43" fmla="*/ 589 h 596"/>
                <a:gd name="T44" fmla="*/ 314 w 317"/>
                <a:gd name="T45" fmla="*/ 593 h 596"/>
                <a:gd name="T46" fmla="*/ 311 w 317"/>
                <a:gd name="T47" fmla="*/ 595 h 596"/>
                <a:gd name="T48" fmla="*/ 307 w 317"/>
                <a:gd name="T49"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 h="596">
                  <a:moveTo>
                    <a:pt x="307" y="596"/>
                  </a:moveTo>
                  <a:lnTo>
                    <a:pt x="303" y="595"/>
                  </a:lnTo>
                  <a:lnTo>
                    <a:pt x="300" y="593"/>
                  </a:lnTo>
                  <a:lnTo>
                    <a:pt x="3" y="304"/>
                  </a:lnTo>
                  <a:lnTo>
                    <a:pt x="0" y="301"/>
                  </a:lnTo>
                  <a:lnTo>
                    <a:pt x="0" y="298"/>
                  </a:lnTo>
                  <a:lnTo>
                    <a:pt x="0" y="293"/>
                  </a:lnTo>
                  <a:lnTo>
                    <a:pt x="3" y="290"/>
                  </a:lnTo>
                  <a:lnTo>
                    <a:pt x="300" y="2"/>
                  </a:lnTo>
                  <a:lnTo>
                    <a:pt x="303" y="0"/>
                  </a:lnTo>
                  <a:lnTo>
                    <a:pt x="307" y="0"/>
                  </a:lnTo>
                  <a:lnTo>
                    <a:pt x="311" y="1"/>
                  </a:lnTo>
                  <a:lnTo>
                    <a:pt x="314" y="3"/>
                  </a:lnTo>
                  <a:lnTo>
                    <a:pt x="316" y="6"/>
                  </a:lnTo>
                  <a:lnTo>
                    <a:pt x="317" y="9"/>
                  </a:lnTo>
                  <a:lnTo>
                    <a:pt x="316" y="14"/>
                  </a:lnTo>
                  <a:lnTo>
                    <a:pt x="314" y="17"/>
                  </a:lnTo>
                  <a:lnTo>
                    <a:pt x="23" y="298"/>
                  </a:lnTo>
                  <a:lnTo>
                    <a:pt x="314" y="578"/>
                  </a:lnTo>
                  <a:lnTo>
                    <a:pt x="316" y="582"/>
                  </a:lnTo>
                  <a:lnTo>
                    <a:pt x="317" y="585"/>
                  </a:lnTo>
                  <a:lnTo>
                    <a:pt x="316" y="589"/>
                  </a:lnTo>
                  <a:lnTo>
                    <a:pt x="314" y="593"/>
                  </a:lnTo>
                  <a:lnTo>
                    <a:pt x="311" y="595"/>
                  </a:lnTo>
                  <a:lnTo>
                    <a:pt x="307" y="596"/>
                  </a:ln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endParaRPr lang="en-US" sz="1100" dirty="0"/>
            </a:p>
          </p:txBody>
        </p:sp>
        <p:sp>
          <p:nvSpPr>
            <p:cNvPr id="64" name="Freeform 454"/>
            <p:cNvSpPr>
              <a:spLocks/>
            </p:cNvSpPr>
            <p:nvPr/>
          </p:nvSpPr>
          <p:spPr bwMode="auto">
            <a:xfrm>
              <a:off x="11868991" y="5928957"/>
              <a:ext cx="71341" cy="134554"/>
            </a:xfrm>
            <a:custGeom>
              <a:avLst/>
              <a:gdLst>
                <a:gd name="T0" fmla="*/ 10 w 318"/>
                <a:gd name="T1" fmla="*/ 596 h 596"/>
                <a:gd name="T2" fmla="*/ 6 w 318"/>
                <a:gd name="T3" fmla="*/ 595 h 596"/>
                <a:gd name="T4" fmla="*/ 2 w 318"/>
                <a:gd name="T5" fmla="*/ 593 h 596"/>
                <a:gd name="T6" fmla="*/ 0 w 318"/>
                <a:gd name="T7" fmla="*/ 589 h 596"/>
                <a:gd name="T8" fmla="*/ 0 w 318"/>
                <a:gd name="T9" fmla="*/ 585 h 596"/>
                <a:gd name="T10" fmla="*/ 0 w 318"/>
                <a:gd name="T11" fmla="*/ 582 h 596"/>
                <a:gd name="T12" fmla="*/ 2 w 318"/>
                <a:gd name="T13" fmla="*/ 578 h 596"/>
                <a:gd name="T14" fmla="*/ 293 w 318"/>
                <a:gd name="T15" fmla="*/ 298 h 596"/>
                <a:gd name="T16" fmla="*/ 2 w 318"/>
                <a:gd name="T17" fmla="*/ 17 h 596"/>
                <a:gd name="T18" fmla="*/ 0 w 318"/>
                <a:gd name="T19" fmla="*/ 14 h 596"/>
                <a:gd name="T20" fmla="*/ 0 w 318"/>
                <a:gd name="T21" fmla="*/ 9 h 596"/>
                <a:gd name="T22" fmla="*/ 0 w 318"/>
                <a:gd name="T23" fmla="*/ 6 h 596"/>
                <a:gd name="T24" fmla="*/ 2 w 318"/>
                <a:gd name="T25" fmla="*/ 3 h 596"/>
                <a:gd name="T26" fmla="*/ 6 w 318"/>
                <a:gd name="T27" fmla="*/ 1 h 596"/>
                <a:gd name="T28" fmla="*/ 10 w 318"/>
                <a:gd name="T29" fmla="*/ 0 h 596"/>
                <a:gd name="T30" fmla="*/ 13 w 318"/>
                <a:gd name="T31" fmla="*/ 0 h 596"/>
                <a:gd name="T32" fmla="*/ 17 w 318"/>
                <a:gd name="T33" fmla="*/ 2 h 596"/>
                <a:gd name="T34" fmla="*/ 315 w 318"/>
                <a:gd name="T35" fmla="*/ 290 h 596"/>
                <a:gd name="T36" fmla="*/ 317 w 318"/>
                <a:gd name="T37" fmla="*/ 293 h 596"/>
                <a:gd name="T38" fmla="*/ 318 w 318"/>
                <a:gd name="T39" fmla="*/ 298 h 596"/>
                <a:gd name="T40" fmla="*/ 317 w 318"/>
                <a:gd name="T41" fmla="*/ 301 h 596"/>
                <a:gd name="T42" fmla="*/ 315 w 318"/>
                <a:gd name="T43" fmla="*/ 304 h 596"/>
                <a:gd name="T44" fmla="*/ 17 w 318"/>
                <a:gd name="T45" fmla="*/ 593 h 596"/>
                <a:gd name="T46" fmla="*/ 13 w 318"/>
                <a:gd name="T47" fmla="*/ 595 h 596"/>
                <a:gd name="T48" fmla="*/ 10 w 318"/>
                <a:gd name="T49"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8" h="596">
                  <a:moveTo>
                    <a:pt x="10" y="596"/>
                  </a:moveTo>
                  <a:lnTo>
                    <a:pt x="6" y="595"/>
                  </a:lnTo>
                  <a:lnTo>
                    <a:pt x="2" y="593"/>
                  </a:lnTo>
                  <a:lnTo>
                    <a:pt x="0" y="589"/>
                  </a:lnTo>
                  <a:lnTo>
                    <a:pt x="0" y="585"/>
                  </a:lnTo>
                  <a:lnTo>
                    <a:pt x="0" y="582"/>
                  </a:lnTo>
                  <a:lnTo>
                    <a:pt x="2" y="578"/>
                  </a:lnTo>
                  <a:lnTo>
                    <a:pt x="293" y="298"/>
                  </a:lnTo>
                  <a:lnTo>
                    <a:pt x="2" y="17"/>
                  </a:lnTo>
                  <a:lnTo>
                    <a:pt x="0" y="14"/>
                  </a:lnTo>
                  <a:lnTo>
                    <a:pt x="0" y="9"/>
                  </a:lnTo>
                  <a:lnTo>
                    <a:pt x="0" y="6"/>
                  </a:lnTo>
                  <a:lnTo>
                    <a:pt x="2" y="3"/>
                  </a:lnTo>
                  <a:lnTo>
                    <a:pt x="6" y="1"/>
                  </a:lnTo>
                  <a:lnTo>
                    <a:pt x="10" y="0"/>
                  </a:lnTo>
                  <a:lnTo>
                    <a:pt x="13" y="0"/>
                  </a:lnTo>
                  <a:lnTo>
                    <a:pt x="17" y="2"/>
                  </a:lnTo>
                  <a:lnTo>
                    <a:pt x="315" y="290"/>
                  </a:lnTo>
                  <a:lnTo>
                    <a:pt x="317" y="293"/>
                  </a:lnTo>
                  <a:lnTo>
                    <a:pt x="318" y="298"/>
                  </a:lnTo>
                  <a:lnTo>
                    <a:pt x="317" y="301"/>
                  </a:lnTo>
                  <a:lnTo>
                    <a:pt x="315" y="304"/>
                  </a:lnTo>
                  <a:lnTo>
                    <a:pt x="17" y="593"/>
                  </a:lnTo>
                  <a:lnTo>
                    <a:pt x="13" y="595"/>
                  </a:lnTo>
                  <a:lnTo>
                    <a:pt x="10" y="596"/>
                  </a:ln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endParaRPr lang="en-US" sz="1100" dirty="0"/>
            </a:p>
          </p:txBody>
        </p:sp>
        <p:sp>
          <p:nvSpPr>
            <p:cNvPr id="65" name="Rectangle 64"/>
            <p:cNvSpPr/>
            <p:nvPr/>
          </p:nvSpPr>
          <p:spPr>
            <a:xfrm>
              <a:off x="11488111" y="5869275"/>
              <a:ext cx="484815" cy="253916"/>
            </a:xfrm>
            <a:prstGeom prst="rect">
              <a:avLst/>
            </a:prstGeom>
          </p:spPr>
          <p:txBody>
            <a:bodyPr wrap="none" anchor="ctr">
              <a:noAutofit/>
            </a:bodyPr>
            <a:lstStyle/>
            <a:p>
              <a:pPr algn="ctr">
                <a:defRPr/>
              </a:pPr>
              <a:r>
                <a:rPr lang="en-US" sz="1000" dirty="0">
                  <a:solidFill>
                    <a:srgbClr val="505555"/>
                  </a:solidFill>
                  <a:latin typeface="Source Sans Pro Light" panose="020B0403030403020204" pitchFamily="34" charset="0"/>
                  <a:ea typeface="Roboto" panose="02000000000000000000" pitchFamily="2" charset="0"/>
                </a:rPr>
                <a:t>1</a:t>
              </a:r>
            </a:p>
          </p:txBody>
        </p:sp>
      </p:grpSp>
      <p:grpSp>
        <p:nvGrpSpPr>
          <p:cNvPr id="7" name="Group 6"/>
          <p:cNvGrpSpPr/>
          <p:nvPr/>
        </p:nvGrpSpPr>
        <p:grpSpPr>
          <a:xfrm>
            <a:off x="-18984" y="1605706"/>
            <a:ext cx="5254752" cy="3634685"/>
            <a:chOff x="0" y="0"/>
            <a:chExt cx="5254752" cy="3634685"/>
          </a:xfrm>
        </p:grpSpPr>
        <p:sp>
          <p:nvSpPr>
            <p:cNvPr id="35" name="Down Arrow Callout 34"/>
            <p:cNvSpPr/>
            <p:nvPr/>
          </p:nvSpPr>
          <p:spPr bwMode="auto">
            <a:xfrm>
              <a:off x="0" y="0"/>
              <a:ext cx="5254752" cy="3634685"/>
            </a:xfrm>
            <a:prstGeom prst="downArrowCallout">
              <a:avLst>
                <a:gd name="adj1" fmla="val 20412"/>
                <a:gd name="adj2" fmla="val 10206"/>
                <a:gd name="adj3" fmla="val 10498"/>
                <a:gd name="adj4" fmla="val 92638"/>
              </a:avLst>
            </a:prstGeom>
            <a:solidFill>
              <a:schemeClr val="accent1"/>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a:p>
          </p:txBody>
        </p:sp>
        <p:grpSp>
          <p:nvGrpSpPr>
            <p:cNvPr id="2" name="Group 1"/>
            <p:cNvGrpSpPr/>
            <p:nvPr/>
          </p:nvGrpSpPr>
          <p:grpSpPr>
            <a:xfrm>
              <a:off x="4670552" y="0"/>
              <a:ext cx="584200" cy="584200"/>
              <a:chOff x="11607800" y="0"/>
              <a:chExt cx="584200" cy="584200"/>
            </a:xfrm>
          </p:grpSpPr>
          <p:sp>
            <p:nvSpPr>
              <p:cNvPr id="5" name="Right Triangle 4"/>
              <p:cNvSpPr/>
              <p:nvPr/>
            </p:nvSpPr>
            <p:spPr>
              <a:xfrm rot="16200000" flipV="1">
                <a:off x="11607800" y="0"/>
                <a:ext cx="584200" cy="58420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ight Triangle 27"/>
              <p:cNvSpPr/>
              <p:nvPr/>
            </p:nvSpPr>
            <p:spPr>
              <a:xfrm rot="16200000" flipH="1">
                <a:off x="11607800" y="0"/>
                <a:ext cx="584200" cy="584200"/>
              </a:xfrm>
              <a:prstGeom prst="r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36" name="Rectangle 35"/>
          <p:cNvSpPr/>
          <p:nvPr/>
        </p:nvSpPr>
        <p:spPr>
          <a:xfrm>
            <a:off x="191135" y="980444"/>
            <a:ext cx="4721226" cy="307777"/>
          </a:xfrm>
          <a:prstGeom prst="rect">
            <a:avLst/>
          </a:prstGeom>
        </p:spPr>
        <p:txBody>
          <a:bodyPr wrap="square">
            <a:spAutoFit/>
          </a:bodyPr>
          <a:lstStyle/>
          <a:p>
            <a:pPr>
              <a:buClr>
                <a:srgbClr val="E24848"/>
              </a:buClr>
              <a:defRPr/>
            </a:pPr>
            <a:r>
              <a:rPr lang="en-US" sz="1400" noProof="1">
                <a:solidFill>
                  <a:schemeClr val="bg1"/>
                </a:solidFill>
                <a:latin typeface="+mj-lt"/>
                <a:ea typeface="Open Sans Light" panose="020B0306030504020204" pitchFamily="34" charset="0"/>
                <a:cs typeface="Open Sans Light" panose="020B0306030504020204" pitchFamily="34" charset="0"/>
              </a:rPr>
              <a:t>Dieudonne Ouedraogo, Insight Data Science  2019A DS NY</a:t>
            </a:r>
          </a:p>
        </p:txBody>
      </p:sp>
      <p:sp>
        <p:nvSpPr>
          <p:cNvPr id="66" name="Rectangle 65"/>
          <p:cNvSpPr/>
          <p:nvPr/>
        </p:nvSpPr>
        <p:spPr>
          <a:xfrm>
            <a:off x="191135" y="464653"/>
            <a:ext cx="4721226" cy="584775"/>
          </a:xfrm>
          <a:prstGeom prst="rect">
            <a:avLst/>
          </a:prstGeom>
        </p:spPr>
        <p:txBody>
          <a:bodyPr vert="horz" lIns="91440" tIns="45720" rIns="91440" bIns="45720" rtlCol="0" anchor="ctr">
            <a:noAutofit/>
          </a:bodyPr>
          <a:lstStyle/>
          <a:p>
            <a:pPr>
              <a:spcBef>
                <a:spcPct val="0"/>
              </a:spcBef>
            </a:pPr>
            <a:r>
              <a:rPr lang="en-US" sz="2000" b="1" spc="-150" noProof="1">
                <a:solidFill>
                  <a:schemeClr val="bg1"/>
                </a:solidFill>
                <a:latin typeface="Roboto" panose="02000000000000000000" pitchFamily="2" charset="0"/>
                <a:ea typeface="Roboto" panose="02000000000000000000" pitchFamily="2" charset="0"/>
                <a:cs typeface="Open Sans" panose="020B0606030504020204" pitchFamily="34" charset="0"/>
              </a:rPr>
              <a:t>                       RestauAnalytics</a:t>
            </a:r>
          </a:p>
        </p:txBody>
      </p:sp>
      <p:sp>
        <p:nvSpPr>
          <p:cNvPr id="39" name="Oval 38"/>
          <p:cNvSpPr/>
          <p:nvPr/>
        </p:nvSpPr>
        <p:spPr bwMode="gray">
          <a:xfrm>
            <a:off x="1148559" y="1930063"/>
            <a:ext cx="3100381" cy="3100375"/>
          </a:xfrm>
          <a:prstGeom prst="ellipse">
            <a:avLst/>
          </a:prstGeom>
          <a:solidFill>
            <a:schemeClr val="bg1">
              <a:alpha val="25000"/>
            </a:schemeClr>
          </a:solidFill>
          <a:ln w="6350">
            <a:noFill/>
            <a:headEnd/>
            <a:tailEnd/>
          </a:ln>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300" b="1" dirty="0">
              <a:solidFill>
                <a:schemeClr val="tx1">
                  <a:lumMod val="65000"/>
                  <a:lumOff val="35000"/>
                </a:schemeClr>
              </a:solidFill>
              <a:latin typeface="Calibri" charset="0"/>
              <a:ea typeface="ＭＳ Ｐゴシック" charset="-128"/>
            </a:endParaRPr>
          </a:p>
        </p:txBody>
      </p:sp>
      <p:sp>
        <p:nvSpPr>
          <p:cNvPr id="40" name="Oval 39"/>
          <p:cNvSpPr/>
          <p:nvPr/>
        </p:nvSpPr>
        <p:spPr>
          <a:xfrm>
            <a:off x="1148559" y="2403704"/>
            <a:ext cx="3176975" cy="2742179"/>
          </a:xfrm>
          <a:prstGeom prst="ellipse">
            <a:avLst/>
          </a:prstGeom>
          <a:gradFill flip="none" rotWithShape="1">
            <a:gsLst>
              <a:gs pos="0">
                <a:schemeClr val="tx2">
                  <a:lumMod val="75000"/>
                </a:schemeClr>
              </a:gs>
              <a:gs pos="100000">
                <a:schemeClr val="tx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
        <p:nvSpPr>
          <p:cNvPr id="41" name="Oval 40"/>
          <p:cNvSpPr/>
          <p:nvPr/>
        </p:nvSpPr>
        <p:spPr bwMode="gray">
          <a:xfrm>
            <a:off x="1417604" y="2199110"/>
            <a:ext cx="2562297" cy="2562293"/>
          </a:xfrm>
          <a:prstGeom prst="ellipse">
            <a:avLst/>
          </a:prstGeom>
          <a:solidFill>
            <a:schemeClr val="bg1"/>
          </a:solidFill>
          <a:ln w="6350">
            <a:noFill/>
            <a:headEnd/>
            <a:tailEnd/>
          </a:ln>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300" b="1" dirty="0">
              <a:solidFill>
                <a:schemeClr val="tx1">
                  <a:lumMod val="65000"/>
                  <a:lumOff val="35000"/>
                </a:schemeClr>
              </a:solidFill>
              <a:latin typeface="Calibri" charset="0"/>
              <a:ea typeface="ＭＳ Ｐゴシック" charset="-128"/>
            </a:endParaRPr>
          </a:p>
        </p:txBody>
      </p:sp>
      <p:sp>
        <p:nvSpPr>
          <p:cNvPr id="20" name="Rectangle 19"/>
          <p:cNvSpPr/>
          <p:nvPr/>
        </p:nvSpPr>
        <p:spPr>
          <a:xfrm>
            <a:off x="6008503" y="1930062"/>
            <a:ext cx="5363161" cy="892552"/>
          </a:xfrm>
          <a:prstGeom prst="rect">
            <a:avLst/>
          </a:prstGeom>
        </p:spPr>
        <p:txBody>
          <a:bodyPr wrap="square">
            <a:spAutoFit/>
          </a:bodyPr>
          <a:lstStyle/>
          <a:p>
            <a:pPr algn="just">
              <a:buClr>
                <a:srgbClr val="E24848"/>
              </a:buClr>
              <a:defRPr/>
            </a:pPr>
            <a:endParaRPr lang="en-US" sz="2000" noProof="1">
              <a:solidFill>
                <a:schemeClr val="bg1"/>
              </a:solidFill>
              <a:latin typeface="+mj-lt"/>
              <a:ea typeface="Open Sans Light" panose="020B0306030504020204" pitchFamily="34" charset="0"/>
              <a:cs typeface="Open Sans Light" panose="020B0306030504020204" pitchFamily="34" charset="0"/>
            </a:endParaRPr>
          </a:p>
          <a:p>
            <a:pPr>
              <a:buClr>
                <a:srgbClr val="E24848"/>
              </a:buClr>
              <a:defRPr/>
            </a:pPr>
            <a:endParaRPr lang="en-US" sz="2000" noProof="1">
              <a:solidFill>
                <a:schemeClr val="bg1"/>
              </a:solidFill>
              <a:latin typeface="+mj-lt"/>
              <a:ea typeface="Open Sans Light" panose="020B0306030504020204" pitchFamily="34" charset="0"/>
              <a:cs typeface="Open Sans Light" panose="020B0306030504020204" pitchFamily="34" charset="0"/>
            </a:endParaRPr>
          </a:p>
          <a:p>
            <a:pPr>
              <a:buClr>
                <a:srgbClr val="E24848"/>
              </a:buClr>
              <a:defRPr/>
            </a:pPr>
            <a:endParaRPr lang="en-US" sz="1200" noProof="1">
              <a:solidFill>
                <a:schemeClr val="bg1"/>
              </a:solidFill>
              <a:latin typeface="+mj-lt"/>
              <a:ea typeface="Open Sans Light" panose="020B0306030504020204" pitchFamily="34" charset="0"/>
              <a:cs typeface="Open Sans Light" panose="020B0306030504020204" pitchFamily="34" charset="0"/>
            </a:endParaRPr>
          </a:p>
        </p:txBody>
      </p:sp>
      <p:sp>
        <p:nvSpPr>
          <p:cNvPr id="6" name="Rectangle 5"/>
          <p:cNvSpPr/>
          <p:nvPr/>
        </p:nvSpPr>
        <p:spPr>
          <a:xfrm>
            <a:off x="5388864" y="5030438"/>
            <a:ext cx="6803136" cy="18275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itle 1"/>
          <p:cNvSpPr txBox="1">
            <a:spLocks/>
          </p:cNvSpPr>
          <p:nvPr/>
        </p:nvSpPr>
        <p:spPr>
          <a:xfrm>
            <a:off x="6120891" y="956627"/>
            <a:ext cx="4757033" cy="562342"/>
          </a:xfrm>
          <a:prstGeom prst="rect">
            <a:avLst/>
          </a:prstGeom>
        </p:spPr>
        <p:txBody>
          <a:bodyPr vert="horz" lIns="91440" tIns="45720" rIns="91440" bIns="45720" rtlCol="0" anchor="ctr">
            <a:noAutofit/>
          </a:bodyPr>
          <a:lstStyle>
            <a:defPPr>
              <a:defRPr lang="en-US"/>
            </a:defPPr>
            <a:lvl1pPr>
              <a:spcBef>
                <a:spcPct val="0"/>
              </a:spcBef>
              <a:defRPr sz="3600" b="1" spc="-150">
                <a:solidFill>
                  <a:schemeClr val="bg1"/>
                </a:solidFill>
                <a:latin typeface="Roboto" panose="02000000000000000000" pitchFamily="2" charset="0"/>
                <a:ea typeface="Roboto" panose="02000000000000000000" pitchFamily="2" charset="0"/>
                <a:cs typeface="Open Sans" panose="020B0606030504020204" pitchFamily="34" charset="0"/>
              </a:defRPr>
            </a:lvl1pPr>
          </a:lstStyle>
          <a:p>
            <a:r>
              <a:rPr lang="en-US" sz="2000" spc="600" dirty="0"/>
              <a:t>  RESTAUANALYTICS</a:t>
            </a:r>
          </a:p>
        </p:txBody>
      </p:sp>
      <p:sp>
        <p:nvSpPr>
          <p:cNvPr id="23" name="Rectangle 22"/>
          <p:cNvSpPr/>
          <p:nvPr/>
        </p:nvSpPr>
        <p:spPr>
          <a:xfrm>
            <a:off x="1396422" y="5189656"/>
            <a:ext cx="2953906" cy="707886"/>
          </a:xfrm>
          <a:prstGeom prst="rect">
            <a:avLst/>
          </a:prstGeom>
        </p:spPr>
        <p:txBody>
          <a:bodyPr vert="horz" lIns="91440" tIns="45720" rIns="91440" bIns="45720" rtlCol="0" anchor="ctr">
            <a:noAutofit/>
          </a:bodyPr>
          <a:lstStyle/>
          <a:p>
            <a:pPr algn="ctr">
              <a:spcBef>
                <a:spcPct val="0"/>
              </a:spcBef>
            </a:pPr>
            <a:r>
              <a:rPr lang="en-US" sz="2000" b="1" spc="600" dirty="0">
                <a:solidFill>
                  <a:schemeClr val="bg1"/>
                </a:solidFill>
                <a:latin typeface="Roboto" panose="02000000000000000000" pitchFamily="2" charset="0"/>
                <a:ea typeface="Roboto" panose="02000000000000000000" pitchFamily="2" charset="0"/>
                <a:cs typeface="Open Sans" panose="020B0606030504020204" pitchFamily="34" charset="0"/>
              </a:rPr>
              <a:t>01-25-2019</a:t>
            </a:r>
          </a:p>
        </p:txBody>
      </p:sp>
      <p:sp>
        <p:nvSpPr>
          <p:cNvPr id="24" name="Rectangle 23"/>
          <p:cNvSpPr/>
          <p:nvPr/>
        </p:nvSpPr>
        <p:spPr>
          <a:xfrm>
            <a:off x="1299011" y="5664316"/>
            <a:ext cx="3051317" cy="276999"/>
          </a:xfrm>
          <a:prstGeom prst="rect">
            <a:avLst/>
          </a:prstGeom>
        </p:spPr>
        <p:txBody>
          <a:bodyPr wrap="square">
            <a:spAutoFit/>
          </a:bodyPr>
          <a:lstStyle/>
          <a:p>
            <a:pPr algn="ctr">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INSIGHT DATA SCIENCE </a:t>
            </a:r>
          </a:p>
        </p:txBody>
      </p:sp>
      <p:sp>
        <p:nvSpPr>
          <p:cNvPr id="25" name="Rectangle 24"/>
          <p:cNvSpPr/>
          <p:nvPr/>
        </p:nvSpPr>
        <p:spPr>
          <a:xfrm>
            <a:off x="5388864" y="4926647"/>
            <a:ext cx="680313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Placeholder 7">
            <a:extLst>
              <a:ext uri="{FF2B5EF4-FFF2-40B4-BE49-F238E27FC236}">
                <a16:creationId xmlns:a16="http://schemas.microsoft.com/office/drawing/2014/main" id="{1B0A7296-ECBB-8E4A-A0BC-F4D0D9F23197}"/>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1865" r="21865"/>
          <a:stretch>
            <a:fillRect/>
          </a:stretch>
        </p:blipFill>
        <p:spPr>
          <a:solidFill>
            <a:schemeClr val="bg1">
              <a:lumMod val="85000"/>
            </a:schemeClr>
          </a:solidFill>
        </p:spPr>
      </p:pic>
      <p:pic>
        <p:nvPicPr>
          <p:cNvPr id="10" name="Picture 9">
            <a:extLst>
              <a:ext uri="{FF2B5EF4-FFF2-40B4-BE49-F238E27FC236}">
                <a16:creationId xmlns:a16="http://schemas.microsoft.com/office/drawing/2014/main" id="{78F14E98-1319-854B-875A-732E59E9E5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16483" y="2189906"/>
            <a:ext cx="6602130" cy="2668185"/>
          </a:xfrm>
          <a:prstGeom prst="rect">
            <a:avLst/>
          </a:prstGeom>
        </p:spPr>
      </p:pic>
    </p:spTree>
    <p:extLst>
      <p:ext uri="{BB962C8B-B14F-4D97-AF65-F5344CB8AC3E}">
        <p14:creationId xmlns:p14="http://schemas.microsoft.com/office/powerpoint/2010/main" val="4028208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562170" y="3276039"/>
            <a:ext cx="3699860" cy="3477875"/>
          </a:xfrm>
          <a:prstGeom prst="rect">
            <a:avLst/>
          </a:prstGeom>
        </p:spPr>
        <p:txBody>
          <a:bodyPr wrap="square">
            <a:spAutoFit/>
          </a:bodyPr>
          <a:lstStyle/>
          <a:p>
            <a:pPr algn="just">
              <a:buClr>
                <a:srgbClr val="E24848"/>
              </a:buClr>
              <a:defRPr/>
            </a:pPr>
            <a:r>
              <a:rPr lang="en-US" sz="2200" noProof="1">
                <a:solidFill>
                  <a:schemeClr val="bg1"/>
                </a:solidFill>
                <a:latin typeface="+mj-lt"/>
                <a:ea typeface="Open Sans Light" panose="020B0306030504020204" pitchFamily="34" charset="0"/>
                <a:cs typeface="Open Sans Light" panose="020B0306030504020204" pitchFamily="34" charset="0"/>
              </a:rPr>
              <a:t>Most people in NYC eat outside of their homes, restaurants provide for their needs. Even though the DOHMH monitor restaurants activities and provides grades, this informations is not enough to help people make a better decision when it comes to their food</a:t>
            </a:r>
            <a:r>
              <a:rPr lang="en-US" sz="2000" noProof="1">
                <a:solidFill>
                  <a:schemeClr val="bg1"/>
                </a:solidFill>
                <a:latin typeface="+mj-lt"/>
                <a:ea typeface="Open Sans Light" panose="020B0306030504020204" pitchFamily="34" charset="0"/>
                <a:cs typeface="Open Sans Light" panose="020B0306030504020204" pitchFamily="34" charset="0"/>
              </a:rPr>
              <a:t>. </a:t>
            </a:r>
          </a:p>
        </p:txBody>
      </p:sp>
      <p:sp>
        <p:nvSpPr>
          <p:cNvPr id="9" name="Rectangle 8"/>
          <p:cNvSpPr/>
          <p:nvPr/>
        </p:nvSpPr>
        <p:spPr>
          <a:xfrm>
            <a:off x="3557768" y="2660403"/>
            <a:ext cx="3033724" cy="488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en-US" sz="2000" noProof="1">
                <a:solidFill>
                  <a:schemeClr val="bg1"/>
                </a:solidFill>
                <a:latin typeface="Roboto" panose="02000000000000000000" pitchFamily="2" charset="0"/>
                <a:ea typeface="Roboto" panose="02000000000000000000" pitchFamily="2" charset="0"/>
                <a:cs typeface="Open Sans" panose="020B0606030504020204" pitchFamily="34" charset="0"/>
              </a:rPr>
              <a:t> </a:t>
            </a:r>
          </a:p>
        </p:txBody>
      </p:sp>
      <p:sp>
        <p:nvSpPr>
          <p:cNvPr id="7" name="Rectangle 6"/>
          <p:cNvSpPr/>
          <p:nvPr/>
        </p:nvSpPr>
        <p:spPr>
          <a:xfrm>
            <a:off x="590105" y="4341917"/>
            <a:ext cx="1624484" cy="307777"/>
          </a:xfrm>
          <a:prstGeom prst="rect">
            <a:avLst/>
          </a:prstGeom>
        </p:spPr>
        <p:txBody>
          <a:bodyPr wrap="none">
            <a:spAutoFit/>
          </a:bodyPr>
          <a:lstStyle/>
          <a:p>
            <a:r>
              <a:rPr lang="en-US" sz="1400" noProof="1">
                <a:solidFill>
                  <a:schemeClr val="bg1"/>
                </a:solidFill>
                <a:latin typeface="+mj-lt"/>
                <a:ea typeface="Open Sans Light" panose="020B0306030504020204" pitchFamily="34" charset="0"/>
                <a:cs typeface="Open Sans Light" panose="020B0306030504020204" pitchFamily="34" charset="0"/>
              </a:rPr>
              <a:t>Insight Data Science</a:t>
            </a:r>
            <a:endParaRPr lang="en-US" sz="1400" dirty="0">
              <a:solidFill>
                <a:schemeClr val="bg1"/>
              </a:solidFill>
              <a:latin typeface="+mj-lt"/>
              <a:ea typeface="Open Sans Light" panose="020B0306030504020204" pitchFamily="34" charset="0"/>
              <a:cs typeface="Open Sans Light" panose="020B0306030504020204" pitchFamily="34" charset="0"/>
            </a:endParaRPr>
          </a:p>
        </p:txBody>
      </p:sp>
      <p:cxnSp>
        <p:nvCxnSpPr>
          <p:cNvPr id="11" name="Straight Connector 10"/>
          <p:cNvCxnSpPr/>
          <p:nvPr/>
        </p:nvCxnSpPr>
        <p:spPr>
          <a:xfrm>
            <a:off x="499066" y="3161407"/>
            <a:ext cx="668202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12750" y="412914"/>
            <a:ext cx="7542530" cy="584775"/>
          </a:xfrm>
          <a:prstGeom prst="rect">
            <a:avLst/>
          </a:prstGeom>
        </p:spPr>
        <p:txBody>
          <a:bodyPr vert="horz" lIns="91440" tIns="45720" rIns="91440" bIns="45720" rtlCol="0" anchor="ctr">
            <a:noAutofit/>
          </a:bodyPr>
          <a:lstStyle/>
          <a:p>
            <a:pPr>
              <a:spcBef>
                <a:spcPct val="0"/>
              </a:spcBef>
            </a:pPr>
            <a:r>
              <a:rPr lang="en-US" sz="3600" b="1" spc="-150" noProof="1">
                <a:solidFill>
                  <a:schemeClr val="bg1"/>
                </a:solidFill>
                <a:latin typeface="Roboto" panose="02000000000000000000" pitchFamily="2" charset="0"/>
                <a:ea typeface="Roboto" panose="02000000000000000000" pitchFamily="2" charset="0"/>
                <a:cs typeface="Open Sans" panose="020B0606030504020204" pitchFamily="34" charset="0"/>
              </a:rPr>
              <a:t>Context</a:t>
            </a:r>
          </a:p>
        </p:txBody>
      </p:sp>
      <p:grpSp>
        <p:nvGrpSpPr>
          <p:cNvPr id="35" name="Group 34"/>
          <p:cNvGrpSpPr/>
          <p:nvPr/>
        </p:nvGrpSpPr>
        <p:grpSpPr>
          <a:xfrm>
            <a:off x="590105" y="2580616"/>
            <a:ext cx="1247659" cy="568047"/>
            <a:chOff x="4372540" y="2112957"/>
            <a:chExt cx="2304000" cy="1048988"/>
          </a:xfrm>
        </p:grpSpPr>
        <p:sp>
          <p:nvSpPr>
            <p:cNvPr id="37" name="Freeform 455"/>
            <p:cNvSpPr>
              <a:spLocks/>
            </p:cNvSpPr>
            <p:nvPr/>
          </p:nvSpPr>
          <p:spPr bwMode="auto">
            <a:xfrm>
              <a:off x="5279624" y="2112957"/>
              <a:ext cx="389758" cy="258370"/>
            </a:xfrm>
            <a:custGeom>
              <a:avLst/>
              <a:gdLst>
                <a:gd name="T0" fmla="*/ 0 w 610"/>
                <a:gd name="T1" fmla="*/ 15 h 239"/>
                <a:gd name="T2" fmla="*/ 0 w 610"/>
                <a:gd name="T3" fmla="*/ 6 h 239"/>
                <a:gd name="T4" fmla="*/ 38 w 610"/>
                <a:gd name="T5" fmla="*/ 0 h 239"/>
                <a:gd name="T6" fmla="*/ 38 w 610"/>
                <a:gd name="T7" fmla="*/ 11 h 239"/>
                <a:gd name="T8" fmla="*/ 0 w 610"/>
                <a:gd name="T9" fmla="*/ 15 h 239"/>
                <a:gd name="T10" fmla="*/ 0 60000 65536"/>
                <a:gd name="T11" fmla="*/ 0 60000 65536"/>
                <a:gd name="T12" fmla="*/ 0 60000 65536"/>
                <a:gd name="T13" fmla="*/ 0 60000 65536"/>
                <a:gd name="T14" fmla="*/ 0 60000 65536"/>
                <a:gd name="T15" fmla="*/ 0 w 610"/>
                <a:gd name="T16" fmla="*/ 0 h 239"/>
                <a:gd name="T17" fmla="*/ 610 w 610"/>
                <a:gd name="T18" fmla="*/ 239 h 239"/>
              </a:gdLst>
              <a:ahLst/>
              <a:cxnLst>
                <a:cxn ang="T10">
                  <a:pos x="T0" y="T1"/>
                </a:cxn>
                <a:cxn ang="T11">
                  <a:pos x="T2" y="T3"/>
                </a:cxn>
                <a:cxn ang="T12">
                  <a:pos x="T4" y="T5"/>
                </a:cxn>
                <a:cxn ang="T13">
                  <a:pos x="T6" y="T7"/>
                </a:cxn>
                <a:cxn ang="T14">
                  <a:pos x="T8" y="T9"/>
                </a:cxn>
              </a:cxnLst>
              <a:rect l="T15" t="T16" r="T17" b="T18"/>
              <a:pathLst>
                <a:path w="610" h="239">
                  <a:moveTo>
                    <a:pt x="0" y="239"/>
                  </a:moveTo>
                  <a:lnTo>
                    <a:pt x="0" y="99"/>
                  </a:lnTo>
                  <a:lnTo>
                    <a:pt x="610" y="0"/>
                  </a:lnTo>
                  <a:lnTo>
                    <a:pt x="610" y="170"/>
                  </a:lnTo>
                  <a:lnTo>
                    <a:pt x="0" y="239"/>
                  </a:lnTo>
                  <a:close/>
                </a:path>
              </a:pathLst>
            </a:custGeom>
            <a:gradFill flip="none" rotWithShape="1">
              <a:gsLst>
                <a:gs pos="0">
                  <a:schemeClr val="accent1"/>
                </a:gs>
                <a:gs pos="100000">
                  <a:schemeClr val="accent2"/>
                </a:gs>
              </a:gsLst>
              <a:lin ang="0" scaled="1"/>
              <a:tileRect/>
            </a:gradFill>
            <a:ln w="9525">
              <a:noFill/>
              <a:round/>
              <a:headEnd/>
              <a:tailEnd/>
            </a:ln>
          </p:spPr>
          <p:txBody>
            <a:bodyPr/>
            <a:lstStyle/>
            <a:p>
              <a:endParaRPr lang="en-GB" kern="0">
                <a:solidFill>
                  <a:schemeClr val="bg1"/>
                </a:solidFill>
              </a:endParaRPr>
            </a:p>
          </p:txBody>
        </p:sp>
        <p:sp>
          <p:nvSpPr>
            <p:cNvPr id="38" name="Freeform 456"/>
            <p:cNvSpPr>
              <a:spLocks/>
            </p:cNvSpPr>
            <p:nvPr/>
          </p:nvSpPr>
          <p:spPr bwMode="auto">
            <a:xfrm>
              <a:off x="5669382" y="2112957"/>
              <a:ext cx="187186" cy="180859"/>
            </a:xfrm>
            <a:custGeom>
              <a:avLst/>
              <a:gdLst>
                <a:gd name="T0" fmla="*/ 0 w 291"/>
                <a:gd name="T1" fmla="*/ 0 h 170"/>
                <a:gd name="T2" fmla="*/ 0 w 291"/>
                <a:gd name="T3" fmla="*/ 10 h 170"/>
                <a:gd name="T4" fmla="*/ 18 w 291"/>
                <a:gd name="T5" fmla="*/ 10 h 170"/>
                <a:gd name="T6" fmla="*/ 18 w 291"/>
                <a:gd name="T7" fmla="*/ 3 h 170"/>
                <a:gd name="T8" fmla="*/ 0 w 291"/>
                <a:gd name="T9" fmla="*/ 0 h 170"/>
                <a:gd name="T10" fmla="*/ 0 60000 65536"/>
                <a:gd name="T11" fmla="*/ 0 60000 65536"/>
                <a:gd name="T12" fmla="*/ 0 60000 65536"/>
                <a:gd name="T13" fmla="*/ 0 60000 65536"/>
                <a:gd name="T14" fmla="*/ 0 60000 65536"/>
                <a:gd name="T15" fmla="*/ 0 w 291"/>
                <a:gd name="T16" fmla="*/ 0 h 170"/>
                <a:gd name="T17" fmla="*/ 291 w 291"/>
                <a:gd name="T18" fmla="*/ 170 h 170"/>
              </a:gdLst>
              <a:ahLst/>
              <a:cxnLst>
                <a:cxn ang="T10">
                  <a:pos x="T0" y="T1"/>
                </a:cxn>
                <a:cxn ang="T11">
                  <a:pos x="T2" y="T3"/>
                </a:cxn>
                <a:cxn ang="T12">
                  <a:pos x="T4" y="T5"/>
                </a:cxn>
                <a:cxn ang="T13">
                  <a:pos x="T6" y="T7"/>
                </a:cxn>
                <a:cxn ang="T14">
                  <a:pos x="T8" y="T9"/>
                </a:cxn>
              </a:cxnLst>
              <a:rect l="T15" t="T16" r="T17" b="T18"/>
              <a:pathLst>
                <a:path w="291" h="170">
                  <a:moveTo>
                    <a:pt x="0" y="0"/>
                  </a:moveTo>
                  <a:lnTo>
                    <a:pt x="0" y="170"/>
                  </a:lnTo>
                  <a:lnTo>
                    <a:pt x="291" y="170"/>
                  </a:lnTo>
                  <a:lnTo>
                    <a:pt x="291" y="46"/>
                  </a:lnTo>
                  <a:lnTo>
                    <a:pt x="0" y="0"/>
                  </a:lnTo>
                  <a:close/>
                </a:path>
              </a:pathLst>
            </a:custGeom>
            <a:gradFill flip="none" rotWithShape="1">
              <a:gsLst>
                <a:gs pos="0">
                  <a:schemeClr val="accent1"/>
                </a:gs>
                <a:gs pos="100000">
                  <a:schemeClr val="accent2"/>
                </a:gs>
              </a:gsLst>
              <a:lin ang="0" scaled="1"/>
              <a:tileRect/>
            </a:gradFill>
            <a:ln w="9525">
              <a:noFill/>
              <a:round/>
              <a:headEnd/>
              <a:tailEnd/>
            </a:ln>
          </p:spPr>
          <p:txBody>
            <a:bodyPr/>
            <a:lstStyle/>
            <a:p>
              <a:endParaRPr lang="en-GB" kern="0">
                <a:solidFill>
                  <a:schemeClr val="bg1"/>
                </a:solidFill>
              </a:endParaRPr>
            </a:p>
          </p:txBody>
        </p:sp>
        <p:sp>
          <p:nvSpPr>
            <p:cNvPr id="39" name="Freeform 467"/>
            <p:cNvSpPr>
              <a:spLocks/>
            </p:cNvSpPr>
            <p:nvPr>
              <p:custDataLst>
                <p:tags r:id="rId1"/>
              </p:custDataLst>
            </p:nvPr>
          </p:nvSpPr>
          <p:spPr bwMode="auto">
            <a:xfrm>
              <a:off x="4505769" y="2263307"/>
              <a:ext cx="1236594" cy="865691"/>
            </a:xfrm>
            <a:custGeom>
              <a:avLst/>
              <a:gdLst>
                <a:gd name="T0" fmla="*/ 120 w 1924"/>
                <a:gd name="T1" fmla="*/ 0 h 1173"/>
                <a:gd name="T2" fmla="*/ 120 w 1924"/>
                <a:gd name="T3" fmla="*/ 73 h 1173"/>
                <a:gd name="T4" fmla="*/ 0 w 1924"/>
                <a:gd name="T5" fmla="*/ 43 h 1173"/>
                <a:gd name="T6" fmla="*/ 0 w 1924"/>
                <a:gd name="T7" fmla="*/ 13 h 1173"/>
                <a:gd name="T8" fmla="*/ 120 w 1924"/>
                <a:gd name="T9" fmla="*/ 0 h 1173"/>
                <a:gd name="T10" fmla="*/ 0 60000 65536"/>
                <a:gd name="T11" fmla="*/ 0 60000 65536"/>
                <a:gd name="T12" fmla="*/ 0 60000 65536"/>
                <a:gd name="T13" fmla="*/ 0 60000 65536"/>
                <a:gd name="T14" fmla="*/ 0 60000 65536"/>
                <a:gd name="T15" fmla="*/ 0 w 1924"/>
                <a:gd name="T16" fmla="*/ 0 h 1173"/>
                <a:gd name="T17" fmla="*/ 1924 w 1924"/>
                <a:gd name="T18" fmla="*/ 1173 h 1173"/>
                <a:gd name="connsiteX0" fmla="*/ 10000 w 10000"/>
                <a:gd name="connsiteY0" fmla="*/ 0 h 7878"/>
                <a:gd name="connsiteX1" fmla="*/ 10000 w 10000"/>
                <a:gd name="connsiteY1" fmla="*/ 7878 h 7878"/>
                <a:gd name="connsiteX2" fmla="*/ 0 w 10000"/>
                <a:gd name="connsiteY2" fmla="*/ 5899 h 7878"/>
                <a:gd name="connsiteX3" fmla="*/ 0 w 10000"/>
                <a:gd name="connsiteY3" fmla="*/ 1799 h 7878"/>
                <a:gd name="connsiteX4" fmla="*/ 10000 w 10000"/>
                <a:gd name="connsiteY4" fmla="*/ 0 h 7878"/>
                <a:gd name="connsiteX0" fmla="*/ 10000 w 10000"/>
                <a:gd name="connsiteY0" fmla="*/ 0 h 10000"/>
                <a:gd name="connsiteX1" fmla="*/ 10000 w 10000"/>
                <a:gd name="connsiteY1" fmla="*/ 10000 h 10000"/>
                <a:gd name="connsiteX2" fmla="*/ 0 w 10000"/>
                <a:gd name="connsiteY2" fmla="*/ 9944 h 10000"/>
                <a:gd name="connsiteX3" fmla="*/ 0 w 10000"/>
                <a:gd name="connsiteY3" fmla="*/ 2284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0000"/>
                  </a:lnTo>
                  <a:lnTo>
                    <a:pt x="0" y="9944"/>
                  </a:lnTo>
                  <a:lnTo>
                    <a:pt x="0" y="2284"/>
                  </a:lnTo>
                  <a:lnTo>
                    <a:pt x="10000" y="0"/>
                  </a:lnTo>
                  <a:close/>
                </a:path>
              </a:pathLst>
            </a:custGeom>
            <a:gradFill flip="none" rotWithShape="1">
              <a:gsLst>
                <a:gs pos="0">
                  <a:schemeClr val="accent1"/>
                </a:gs>
                <a:gs pos="100000">
                  <a:schemeClr val="accent2"/>
                </a:gs>
              </a:gsLst>
              <a:lin ang="0" scaled="1"/>
              <a:tileRect/>
            </a:gra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ndParaRPr>
            </a:p>
          </p:txBody>
        </p:sp>
        <p:sp>
          <p:nvSpPr>
            <p:cNvPr id="40" name="Freeform 520"/>
            <p:cNvSpPr>
              <a:spLocks/>
            </p:cNvSpPr>
            <p:nvPr>
              <p:custDataLst>
                <p:tags r:id="rId2"/>
              </p:custDataLst>
            </p:nvPr>
          </p:nvSpPr>
          <p:spPr bwMode="auto">
            <a:xfrm>
              <a:off x="5742363" y="2263307"/>
              <a:ext cx="839022" cy="865760"/>
            </a:xfrm>
            <a:custGeom>
              <a:avLst/>
              <a:gdLst>
                <a:gd name="T0" fmla="*/ 0 w 1923"/>
                <a:gd name="T1" fmla="*/ 0 h 1173"/>
                <a:gd name="T2" fmla="*/ 0 w 1923"/>
                <a:gd name="T3" fmla="*/ 73 h 1173"/>
                <a:gd name="T4" fmla="*/ 120 w 1923"/>
                <a:gd name="T5" fmla="*/ 43 h 1173"/>
                <a:gd name="T6" fmla="*/ 120 w 1923"/>
                <a:gd name="T7" fmla="*/ 13 h 1173"/>
                <a:gd name="T8" fmla="*/ 0 w 1923"/>
                <a:gd name="T9" fmla="*/ 0 h 1173"/>
                <a:gd name="T10" fmla="*/ 0 60000 65536"/>
                <a:gd name="T11" fmla="*/ 0 60000 65536"/>
                <a:gd name="T12" fmla="*/ 0 60000 65536"/>
                <a:gd name="T13" fmla="*/ 0 60000 65536"/>
                <a:gd name="T14" fmla="*/ 0 60000 65536"/>
                <a:gd name="T15" fmla="*/ 0 w 1923"/>
                <a:gd name="T16" fmla="*/ 0 h 1173"/>
                <a:gd name="T17" fmla="*/ 1923 w 1923"/>
                <a:gd name="T18" fmla="*/ 1173 h 1173"/>
                <a:gd name="connsiteX0" fmla="*/ 0 w 10000"/>
                <a:gd name="connsiteY0" fmla="*/ 0 h 10000"/>
                <a:gd name="connsiteX1" fmla="*/ 0 w 10000"/>
                <a:gd name="connsiteY1" fmla="*/ 10000 h 10000"/>
                <a:gd name="connsiteX2" fmla="*/ 9906 w 10000"/>
                <a:gd name="connsiteY2" fmla="*/ 8833 h 10000"/>
                <a:gd name="connsiteX3" fmla="*/ 10000 w 10000"/>
                <a:gd name="connsiteY3" fmla="*/ 1799 h 10000"/>
                <a:gd name="connsiteX4" fmla="*/ 0 w 10000"/>
                <a:gd name="connsiteY4" fmla="*/ 0 h 10000"/>
                <a:gd name="connsiteX0" fmla="*/ 0 w 10000"/>
                <a:gd name="connsiteY0" fmla="*/ 0 h 10000"/>
                <a:gd name="connsiteX1" fmla="*/ 0 w 10000"/>
                <a:gd name="connsiteY1" fmla="*/ 10000 h 10000"/>
                <a:gd name="connsiteX2" fmla="*/ 9906 w 10000"/>
                <a:gd name="connsiteY2" fmla="*/ 9832 h 10000"/>
                <a:gd name="connsiteX3" fmla="*/ 10000 w 10000"/>
                <a:gd name="connsiteY3" fmla="*/ 1799 h 10000"/>
                <a:gd name="connsiteX4" fmla="*/ 0 w 10000"/>
                <a:gd name="connsiteY4" fmla="*/ 0 h 10000"/>
                <a:gd name="connsiteX0" fmla="*/ 0 w 10000"/>
                <a:gd name="connsiteY0" fmla="*/ 0 h 9832"/>
                <a:gd name="connsiteX1" fmla="*/ 0 w 10000"/>
                <a:gd name="connsiteY1" fmla="*/ 7878 h 9832"/>
                <a:gd name="connsiteX2" fmla="*/ 9906 w 10000"/>
                <a:gd name="connsiteY2" fmla="*/ 9832 h 9832"/>
                <a:gd name="connsiteX3" fmla="*/ 10000 w 10000"/>
                <a:gd name="connsiteY3" fmla="*/ 1799 h 9832"/>
                <a:gd name="connsiteX4" fmla="*/ 0 w 10000"/>
                <a:gd name="connsiteY4" fmla="*/ 0 h 9832"/>
                <a:gd name="connsiteX0" fmla="*/ 0 w 10000"/>
                <a:gd name="connsiteY0" fmla="*/ 0 h 8095"/>
                <a:gd name="connsiteX1" fmla="*/ 0 w 10000"/>
                <a:gd name="connsiteY1" fmla="*/ 8013 h 8095"/>
                <a:gd name="connsiteX2" fmla="*/ 9906 w 10000"/>
                <a:gd name="connsiteY2" fmla="*/ 8095 h 8095"/>
                <a:gd name="connsiteX3" fmla="*/ 10000 w 10000"/>
                <a:gd name="connsiteY3" fmla="*/ 1830 h 8095"/>
                <a:gd name="connsiteX4" fmla="*/ 0 w 10000"/>
                <a:gd name="connsiteY4" fmla="*/ 0 h 8095"/>
                <a:gd name="connsiteX0" fmla="*/ 0 w 10000"/>
                <a:gd name="connsiteY0" fmla="*/ 0 h 9899"/>
                <a:gd name="connsiteX1" fmla="*/ 0 w 10000"/>
                <a:gd name="connsiteY1" fmla="*/ 9899 h 9899"/>
                <a:gd name="connsiteX2" fmla="*/ 9906 w 10000"/>
                <a:gd name="connsiteY2" fmla="*/ 9838 h 9899"/>
                <a:gd name="connsiteX3" fmla="*/ 10000 w 10000"/>
                <a:gd name="connsiteY3" fmla="*/ 2261 h 9899"/>
                <a:gd name="connsiteX4" fmla="*/ 0 w 10000"/>
                <a:gd name="connsiteY4" fmla="*/ 0 h 9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899">
                  <a:moveTo>
                    <a:pt x="0" y="0"/>
                  </a:moveTo>
                  <a:lnTo>
                    <a:pt x="0" y="9899"/>
                  </a:lnTo>
                  <a:lnTo>
                    <a:pt x="9906" y="9838"/>
                  </a:lnTo>
                  <a:cubicBezTo>
                    <a:pt x="9937" y="6892"/>
                    <a:pt x="9969" y="5207"/>
                    <a:pt x="10000" y="2261"/>
                  </a:cubicBezTo>
                  <a:lnTo>
                    <a:pt x="0" y="0"/>
                  </a:lnTo>
                  <a:close/>
                </a:path>
              </a:pathLst>
            </a:custGeom>
            <a:gradFill flip="none" rotWithShape="1">
              <a:gsLst>
                <a:gs pos="0">
                  <a:schemeClr val="accent1"/>
                </a:gs>
                <a:gs pos="100000">
                  <a:schemeClr val="accent2"/>
                </a:gs>
              </a:gsLst>
              <a:lin ang="0" scaled="1"/>
              <a:tileRect/>
            </a:gradFill>
            <a:ln w="9525">
              <a:noFill/>
              <a:round/>
              <a:headEnd/>
              <a:tailEnd/>
            </a:ln>
          </p:spPr>
          <p:txBody>
            <a:bodyPr/>
            <a:lstStyle/>
            <a:p>
              <a:endParaRPr lang="en-GB" kern="0">
                <a:solidFill>
                  <a:schemeClr val="bg1"/>
                </a:solidFill>
              </a:endParaRPr>
            </a:p>
          </p:txBody>
        </p:sp>
        <p:sp>
          <p:nvSpPr>
            <p:cNvPr id="41" name="Freeform 40"/>
            <p:cNvSpPr>
              <a:spLocks/>
            </p:cNvSpPr>
            <p:nvPr/>
          </p:nvSpPr>
          <p:spPr bwMode="auto">
            <a:xfrm>
              <a:off x="4655630" y="2928917"/>
              <a:ext cx="126067" cy="179154"/>
            </a:xfrm>
            <a:custGeom>
              <a:avLst/>
              <a:gdLst>
                <a:gd name="T0" fmla="*/ 0 w 130"/>
                <a:gd name="T1" fmla="*/ 5 h 189"/>
                <a:gd name="T2" fmla="*/ 130 w 130"/>
                <a:gd name="T3" fmla="*/ 0 h 189"/>
                <a:gd name="T4" fmla="*/ 130 w 130"/>
                <a:gd name="T5" fmla="*/ 189 h 189"/>
                <a:gd name="T6" fmla="*/ 0 w 130"/>
                <a:gd name="T7" fmla="*/ 189 h 189"/>
                <a:gd name="T8" fmla="*/ 0 w 130"/>
                <a:gd name="T9" fmla="*/ 5 h 189"/>
              </a:gdLst>
              <a:ahLst/>
              <a:cxnLst>
                <a:cxn ang="0">
                  <a:pos x="T0" y="T1"/>
                </a:cxn>
                <a:cxn ang="0">
                  <a:pos x="T2" y="T3"/>
                </a:cxn>
                <a:cxn ang="0">
                  <a:pos x="T4" y="T5"/>
                </a:cxn>
                <a:cxn ang="0">
                  <a:pos x="T6" y="T7"/>
                </a:cxn>
                <a:cxn ang="0">
                  <a:pos x="T8" y="T9"/>
                </a:cxn>
              </a:cxnLst>
              <a:rect l="0" t="0" r="r" b="b"/>
              <a:pathLst>
                <a:path w="130" h="189">
                  <a:moveTo>
                    <a:pt x="0" y="5"/>
                  </a:moveTo>
                  <a:lnTo>
                    <a:pt x="130" y="0"/>
                  </a:lnTo>
                  <a:lnTo>
                    <a:pt x="130" y="189"/>
                  </a:lnTo>
                  <a:lnTo>
                    <a:pt x="0" y="189"/>
                  </a:lnTo>
                  <a:lnTo>
                    <a:pt x="0" y="5"/>
                  </a:lnTo>
                  <a:close/>
                </a:path>
              </a:pathLst>
            </a:custGeom>
            <a:solidFill>
              <a:schemeClr val="bg1"/>
            </a:solidFill>
            <a:ln w="9525">
              <a:noFill/>
              <a:round/>
              <a:headEnd/>
              <a:tailEnd/>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kern="0">
                <a:solidFill>
                  <a:schemeClr val="bg1"/>
                </a:solidFill>
              </a:endParaRPr>
            </a:p>
          </p:txBody>
        </p:sp>
        <p:sp>
          <p:nvSpPr>
            <p:cNvPr id="42" name="Rectangle 41"/>
            <p:cNvSpPr>
              <a:spLocks noChangeArrowheads="1"/>
            </p:cNvSpPr>
            <p:nvPr/>
          </p:nvSpPr>
          <p:spPr bwMode="auto">
            <a:xfrm>
              <a:off x="4372540" y="3099047"/>
              <a:ext cx="2304000" cy="62898"/>
            </a:xfrm>
            <a:prstGeom prst="rect">
              <a:avLst/>
            </a:prstGeom>
            <a:gradFill flip="none" rotWithShape="1">
              <a:gsLst>
                <a:gs pos="0">
                  <a:schemeClr val="accent1"/>
                </a:gs>
                <a:gs pos="100000">
                  <a:schemeClr val="accent2"/>
                </a:gs>
              </a:gsLst>
              <a:lin ang="0" scaled="1"/>
              <a:tileRect/>
            </a:gradFill>
            <a:ln w="9525">
              <a:noFill/>
              <a:round/>
              <a:headEnd/>
              <a:tailEnd/>
            </a:ln>
            <a:extLst/>
          </p:spPr>
          <p:txBody>
            <a:bodyPr/>
            <a:lstStyle/>
            <a:p>
              <a:endParaRPr lang="en-US" kern="0">
                <a:solidFill>
                  <a:schemeClr val="bg1"/>
                </a:solidFill>
              </a:endParaRPr>
            </a:p>
          </p:txBody>
        </p:sp>
      </p:grpSp>
      <p:sp>
        <p:nvSpPr>
          <p:cNvPr id="49" name="Rectangle 48"/>
          <p:cNvSpPr/>
          <p:nvPr/>
        </p:nvSpPr>
        <p:spPr>
          <a:xfrm>
            <a:off x="528981" y="3327830"/>
            <a:ext cx="2945739" cy="998520"/>
          </a:xfrm>
          <a:prstGeom prst="rect">
            <a:avLst/>
          </a:prstGeom>
        </p:spPr>
        <p:txBody>
          <a:bodyPr vert="horz" lIns="91440" tIns="45720" rIns="91440" bIns="45720" rtlCol="0" anchor="ctr">
            <a:noAutofit/>
          </a:bodyPr>
          <a:lstStyle/>
          <a:p>
            <a:pPr>
              <a:spcBef>
                <a:spcPct val="0"/>
              </a:spcBef>
            </a:pPr>
            <a:endParaRPr lang="en-US" sz="2800" b="1" spc="-150" noProof="1">
              <a:solidFill>
                <a:schemeClr val="bg1"/>
              </a:solidFill>
              <a:latin typeface="Roboto" panose="02000000000000000000" pitchFamily="2" charset="0"/>
              <a:ea typeface="Roboto" panose="02000000000000000000" pitchFamily="2" charset="0"/>
              <a:cs typeface="Open Sans" panose="020B0606030504020204" pitchFamily="34" charset="0"/>
            </a:endParaRPr>
          </a:p>
        </p:txBody>
      </p:sp>
      <p:sp>
        <p:nvSpPr>
          <p:cNvPr id="51" name="Rectangle 50"/>
          <p:cNvSpPr/>
          <p:nvPr/>
        </p:nvSpPr>
        <p:spPr>
          <a:xfrm>
            <a:off x="11488111" y="6559973"/>
            <a:ext cx="484815" cy="253916"/>
          </a:xfrm>
          <a:prstGeom prst="rect">
            <a:avLst/>
          </a:prstGeom>
        </p:spPr>
        <p:txBody>
          <a:bodyPr wrap="none" anchor="ctr">
            <a:noAutofit/>
          </a:bodyPr>
          <a:lstStyle/>
          <a:p>
            <a:pPr algn="ctr">
              <a:defRPr/>
            </a:pPr>
            <a:r>
              <a:rPr lang="en-US" sz="1000" dirty="0">
                <a:solidFill>
                  <a:schemeClr val="bg1"/>
                </a:solidFill>
                <a:latin typeface="Source Sans Pro Light" panose="020B0403030403020204" pitchFamily="34" charset="0"/>
                <a:ea typeface="Roboto" panose="02000000000000000000" pitchFamily="2" charset="0"/>
              </a:rPr>
              <a:t>3</a:t>
            </a:r>
          </a:p>
        </p:txBody>
      </p:sp>
      <p:sp>
        <p:nvSpPr>
          <p:cNvPr id="16" name="Rectangle 15">
            <a:extLst>
              <a:ext uri="{FF2B5EF4-FFF2-40B4-BE49-F238E27FC236}">
                <a16:creationId xmlns:a16="http://schemas.microsoft.com/office/drawing/2014/main" id="{FACCFD78-9EC6-5B47-8F50-60F542AB12FB}"/>
              </a:ext>
            </a:extLst>
          </p:cNvPr>
          <p:cNvSpPr/>
          <p:nvPr/>
        </p:nvSpPr>
        <p:spPr>
          <a:xfrm>
            <a:off x="7707309" y="2300283"/>
            <a:ext cx="3699860" cy="3785652"/>
          </a:xfrm>
          <a:prstGeom prst="rect">
            <a:avLst/>
          </a:prstGeom>
        </p:spPr>
        <p:txBody>
          <a:bodyPr wrap="square">
            <a:spAutoFit/>
          </a:bodyPr>
          <a:lstStyle/>
          <a:p>
            <a:pPr algn="just">
              <a:buClr>
                <a:srgbClr val="E24848"/>
              </a:buClr>
              <a:defRPr/>
            </a:pPr>
            <a:r>
              <a:rPr lang="en-US" sz="2400" noProof="1">
                <a:solidFill>
                  <a:schemeClr val="bg1"/>
                </a:solidFill>
                <a:latin typeface="+mj-lt"/>
                <a:ea typeface="Open Sans Light" panose="020B0306030504020204" pitchFamily="34" charset="0"/>
                <a:cs typeface="Open Sans Light" panose="020B0306030504020204" pitchFamily="34" charset="0"/>
              </a:rPr>
              <a:t>Food is intrinsically related to health, and having insights and transparency about the restaurants can save many lives.</a:t>
            </a:r>
          </a:p>
          <a:p>
            <a:pPr algn="just">
              <a:buClr>
                <a:srgbClr val="E24848"/>
              </a:buClr>
              <a:defRPr/>
            </a:pPr>
            <a:r>
              <a:rPr lang="en-US" sz="2400" noProof="1">
                <a:solidFill>
                  <a:schemeClr val="bg1"/>
                </a:solidFill>
                <a:latin typeface="+mj-lt"/>
                <a:ea typeface="Open Sans Light" panose="020B0306030504020204" pitchFamily="34" charset="0"/>
                <a:cs typeface="Open Sans Light" panose="020B0306030504020204" pitchFamily="34" charset="0"/>
              </a:rPr>
              <a:t>RestauAnalytics aims to provide more clarity to users so they can have more confidence when choosing a restaurant. </a:t>
            </a:r>
          </a:p>
        </p:txBody>
      </p:sp>
    </p:spTree>
    <p:extLst>
      <p:ext uri="{BB962C8B-B14F-4D97-AF65-F5344CB8AC3E}">
        <p14:creationId xmlns:p14="http://schemas.microsoft.com/office/powerpoint/2010/main" val="2418937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flipH="1">
            <a:off x="1" y="0"/>
            <a:ext cx="12191999" cy="6315456"/>
          </a:xfrm>
          <a:prstGeom prst="rect">
            <a:avLst/>
          </a:prstGeom>
          <a:gradFill flip="none" rotWithShape="1">
            <a:gsLst>
              <a:gs pos="0">
                <a:schemeClr val="accent1"/>
              </a:gs>
              <a:gs pos="100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1"/>
          <p:cNvGrpSpPr/>
          <p:nvPr/>
        </p:nvGrpSpPr>
        <p:grpSpPr>
          <a:xfrm>
            <a:off x="11607800" y="0"/>
            <a:ext cx="584200" cy="584200"/>
            <a:chOff x="11607800" y="0"/>
            <a:chExt cx="584200" cy="584200"/>
          </a:xfrm>
        </p:grpSpPr>
        <p:sp>
          <p:nvSpPr>
            <p:cNvPr id="5" name="Right Triangle 4"/>
            <p:cNvSpPr/>
            <p:nvPr/>
          </p:nvSpPr>
          <p:spPr>
            <a:xfrm rot="16200000" flipV="1">
              <a:off x="11607800" y="0"/>
              <a:ext cx="584200" cy="58420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ight Triangle 27"/>
            <p:cNvSpPr/>
            <p:nvPr/>
          </p:nvSpPr>
          <p:spPr>
            <a:xfrm rot="16200000" flipH="1">
              <a:off x="11607800" y="0"/>
              <a:ext cx="584200" cy="58420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20"/>
          <p:cNvGrpSpPr/>
          <p:nvPr/>
        </p:nvGrpSpPr>
        <p:grpSpPr>
          <a:xfrm>
            <a:off x="10254196" y="6544632"/>
            <a:ext cx="1718730" cy="269257"/>
            <a:chOff x="10254196" y="5853934"/>
            <a:chExt cx="1718730" cy="269257"/>
          </a:xfrm>
        </p:grpSpPr>
        <p:sp>
          <p:nvSpPr>
            <p:cNvPr id="60" name="Rectangle 59"/>
            <p:cNvSpPr/>
            <p:nvPr/>
          </p:nvSpPr>
          <p:spPr>
            <a:xfrm>
              <a:off x="10254196" y="5853934"/>
              <a:ext cx="1247457" cy="261610"/>
            </a:xfrm>
            <a:prstGeom prst="rect">
              <a:avLst/>
            </a:prstGeom>
          </p:spPr>
          <p:txBody>
            <a:bodyPr wrap="none">
              <a:spAutoFit/>
            </a:bodyPr>
            <a:lstStyle/>
            <a:p>
              <a:pPr algn="r">
                <a:defRPr/>
              </a:pPr>
              <a:r>
                <a:rPr lang="en-US" sz="1100" dirty="0">
                  <a:solidFill>
                    <a:schemeClr val="tx1">
                      <a:lumMod val="50000"/>
                      <a:lumOff val="50000"/>
                    </a:schemeClr>
                  </a:solidFill>
                  <a:latin typeface="Source Sans Pro Light" panose="020B0403030403020204" pitchFamily="34" charset="0"/>
                  <a:ea typeface="Roboto" panose="02000000000000000000" pitchFamily="2" charset="0"/>
                </a:rPr>
                <a:t>www.comany.com</a:t>
              </a:r>
            </a:p>
          </p:txBody>
        </p:sp>
        <p:sp>
          <p:nvSpPr>
            <p:cNvPr id="63" name="Freeform 453"/>
            <p:cNvSpPr>
              <a:spLocks/>
            </p:cNvSpPr>
            <p:nvPr/>
          </p:nvSpPr>
          <p:spPr bwMode="auto">
            <a:xfrm>
              <a:off x="11497787" y="5928957"/>
              <a:ext cx="72243" cy="134554"/>
            </a:xfrm>
            <a:custGeom>
              <a:avLst/>
              <a:gdLst>
                <a:gd name="T0" fmla="*/ 307 w 317"/>
                <a:gd name="T1" fmla="*/ 596 h 596"/>
                <a:gd name="T2" fmla="*/ 303 w 317"/>
                <a:gd name="T3" fmla="*/ 595 h 596"/>
                <a:gd name="T4" fmla="*/ 300 w 317"/>
                <a:gd name="T5" fmla="*/ 593 h 596"/>
                <a:gd name="T6" fmla="*/ 3 w 317"/>
                <a:gd name="T7" fmla="*/ 304 h 596"/>
                <a:gd name="T8" fmla="*/ 0 w 317"/>
                <a:gd name="T9" fmla="*/ 301 h 596"/>
                <a:gd name="T10" fmla="*/ 0 w 317"/>
                <a:gd name="T11" fmla="*/ 298 h 596"/>
                <a:gd name="T12" fmla="*/ 0 w 317"/>
                <a:gd name="T13" fmla="*/ 293 h 596"/>
                <a:gd name="T14" fmla="*/ 3 w 317"/>
                <a:gd name="T15" fmla="*/ 290 h 596"/>
                <a:gd name="T16" fmla="*/ 300 w 317"/>
                <a:gd name="T17" fmla="*/ 2 h 596"/>
                <a:gd name="T18" fmla="*/ 303 w 317"/>
                <a:gd name="T19" fmla="*/ 0 h 596"/>
                <a:gd name="T20" fmla="*/ 307 w 317"/>
                <a:gd name="T21" fmla="*/ 0 h 596"/>
                <a:gd name="T22" fmla="*/ 311 w 317"/>
                <a:gd name="T23" fmla="*/ 1 h 596"/>
                <a:gd name="T24" fmla="*/ 314 w 317"/>
                <a:gd name="T25" fmla="*/ 3 h 596"/>
                <a:gd name="T26" fmla="*/ 316 w 317"/>
                <a:gd name="T27" fmla="*/ 6 h 596"/>
                <a:gd name="T28" fmla="*/ 317 w 317"/>
                <a:gd name="T29" fmla="*/ 9 h 596"/>
                <a:gd name="T30" fmla="*/ 316 w 317"/>
                <a:gd name="T31" fmla="*/ 14 h 596"/>
                <a:gd name="T32" fmla="*/ 314 w 317"/>
                <a:gd name="T33" fmla="*/ 17 h 596"/>
                <a:gd name="T34" fmla="*/ 23 w 317"/>
                <a:gd name="T35" fmla="*/ 298 h 596"/>
                <a:gd name="T36" fmla="*/ 314 w 317"/>
                <a:gd name="T37" fmla="*/ 578 h 596"/>
                <a:gd name="T38" fmla="*/ 316 w 317"/>
                <a:gd name="T39" fmla="*/ 582 h 596"/>
                <a:gd name="T40" fmla="*/ 317 w 317"/>
                <a:gd name="T41" fmla="*/ 585 h 596"/>
                <a:gd name="T42" fmla="*/ 316 w 317"/>
                <a:gd name="T43" fmla="*/ 589 h 596"/>
                <a:gd name="T44" fmla="*/ 314 w 317"/>
                <a:gd name="T45" fmla="*/ 593 h 596"/>
                <a:gd name="T46" fmla="*/ 311 w 317"/>
                <a:gd name="T47" fmla="*/ 595 h 596"/>
                <a:gd name="T48" fmla="*/ 307 w 317"/>
                <a:gd name="T49"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 h="596">
                  <a:moveTo>
                    <a:pt x="307" y="596"/>
                  </a:moveTo>
                  <a:lnTo>
                    <a:pt x="303" y="595"/>
                  </a:lnTo>
                  <a:lnTo>
                    <a:pt x="300" y="593"/>
                  </a:lnTo>
                  <a:lnTo>
                    <a:pt x="3" y="304"/>
                  </a:lnTo>
                  <a:lnTo>
                    <a:pt x="0" y="301"/>
                  </a:lnTo>
                  <a:lnTo>
                    <a:pt x="0" y="298"/>
                  </a:lnTo>
                  <a:lnTo>
                    <a:pt x="0" y="293"/>
                  </a:lnTo>
                  <a:lnTo>
                    <a:pt x="3" y="290"/>
                  </a:lnTo>
                  <a:lnTo>
                    <a:pt x="300" y="2"/>
                  </a:lnTo>
                  <a:lnTo>
                    <a:pt x="303" y="0"/>
                  </a:lnTo>
                  <a:lnTo>
                    <a:pt x="307" y="0"/>
                  </a:lnTo>
                  <a:lnTo>
                    <a:pt x="311" y="1"/>
                  </a:lnTo>
                  <a:lnTo>
                    <a:pt x="314" y="3"/>
                  </a:lnTo>
                  <a:lnTo>
                    <a:pt x="316" y="6"/>
                  </a:lnTo>
                  <a:lnTo>
                    <a:pt x="317" y="9"/>
                  </a:lnTo>
                  <a:lnTo>
                    <a:pt x="316" y="14"/>
                  </a:lnTo>
                  <a:lnTo>
                    <a:pt x="314" y="17"/>
                  </a:lnTo>
                  <a:lnTo>
                    <a:pt x="23" y="298"/>
                  </a:lnTo>
                  <a:lnTo>
                    <a:pt x="314" y="578"/>
                  </a:lnTo>
                  <a:lnTo>
                    <a:pt x="316" y="582"/>
                  </a:lnTo>
                  <a:lnTo>
                    <a:pt x="317" y="585"/>
                  </a:lnTo>
                  <a:lnTo>
                    <a:pt x="316" y="589"/>
                  </a:lnTo>
                  <a:lnTo>
                    <a:pt x="314" y="593"/>
                  </a:lnTo>
                  <a:lnTo>
                    <a:pt x="311" y="595"/>
                  </a:lnTo>
                  <a:lnTo>
                    <a:pt x="307" y="596"/>
                  </a:ln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endParaRPr lang="en-US" sz="1100" dirty="0"/>
            </a:p>
          </p:txBody>
        </p:sp>
        <p:sp>
          <p:nvSpPr>
            <p:cNvPr id="64" name="Freeform 454"/>
            <p:cNvSpPr>
              <a:spLocks/>
            </p:cNvSpPr>
            <p:nvPr/>
          </p:nvSpPr>
          <p:spPr bwMode="auto">
            <a:xfrm>
              <a:off x="11868991" y="5928957"/>
              <a:ext cx="71341" cy="134554"/>
            </a:xfrm>
            <a:custGeom>
              <a:avLst/>
              <a:gdLst>
                <a:gd name="T0" fmla="*/ 10 w 318"/>
                <a:gd name="T1" fmla="*/ 596 h 596"/>
                <a:gd name="T2" fmla="*/ 6 w 318"/>
                <a:gd name="T3" fmla="*/ 595 h 596"/>
                <a:gd name="T4" fmla="*/ 2 w 318"/>
                <a:gd name="T5" fmla="*/ 593 h 596"/>
                <a:gd name="T6" fmla="*/ 0 w 318"/>
                <a:gd name="T7" fmla="*/ 589 h 596"/>
                <a:gd name="T8" fmla="*/ 0 w 318"/>
                <a:gd name="T9" fmla="*/ 585 h 596"/>
                <a:gd name="T10" fmla="*/ 0 w 318"/>
                <a:gd name="T11" fmla="*/ 582 h 596"/>
                <a:gd name="T12" fmla="*/ 2 w 318"/>
                <a:gd name="T13" fmla="*/ 578 h 596"/>
                <a:gd name="T14" fmla="*/ 293 w 318"/>
                <a:gd name="T15" fmla="*/ 298 h 596"/>
                <a:gd name="T16" fmla="*/ 2 w 318"/>
                <a:gd name="T17" fmla="*/ 17 h 596"/>
                <a:gd name="T18" fmla="*/ 0 w 318"/>
                <a:gd name="T19" fmla="*/ 14 h 596"/>
                <a:gd name="T20" fmla="*/ 0 w 318"/>
                <a:gd name="T21" fmla="*/ 9 h 596"/>
                <a:gd name="T22" fmla="*/ 0 w 318"/>
                <a:gd name="T23" fmla="*/ 6 h 596"/>
                <a:gd name="T24" fmla="*/ 2 w 318"/>
                <a:gd name="T25" fmla="*/ 3 h 596"/>
                <a:gd name="T26" fmla="*/ 6 w 318"/>
                <a:gd name="T27" fmla="*/ 1 h 596"/>
                <a:gd name="T28" fmla="*/ 10 w 318"/>
                <a:gd name="T29" fmla="*/ 0 h 596"/>
                <a:gd name="T30" fmla="*/ 13 w 318"/>
                <a:gd name="T31" fmla="*/ 0 h 596"/>
                <a:gd name="T32" fmla="*/ 17 w 318"/>
                <a:gd name="T33" fmla="*/ 2 h 596"/>
                <a:gd name="T34" fmla="*/ 315 w 318"/>
                <a:gd name="T35" fmla="*/ 290 h 596"/>
                <a:gd name="T36" fmla="*/ 317 w 318"/>
                <a:gd name="T37" fmla="*/ 293 h 596"/>
                <a:gd name="T38" fmla="*/ 318 w 318"/>
                <a:gd name="T39" fmla="*/ 298 h 596"/>
                <a:gd name="T40" fmla="*/ 317 w 318"/>
                <a:gd name="T41" fmla="*/ 301 h 596"/>
                <a:gd name="T42" fmla="*/ 315 w 318"/>
                <a:gd name="T43" fmla="*/ 304 h 596"/>
                <a:gd name="T44" fmla="*/ 17 w 318"/>
                <a:gd name="T45" fmla="*/ 593 h 596"/>
                <a:gd name="T46" fmla="*/ 13 w 318"/>
                <a:gd name="T47" fmla="*/ 595 h 596"/>
                <a:gd name="T48" fmla="*/ 10 w 318"/>
                <a:gd name="T49"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8" h="596">
                  <a:moveTo>
                    <a:pt x="10" y="596"/>
                  </a:moveTo>
                  <a:lnTo>
                    <a:pt x="6" y="595"/>
                  </a:lnTo>
                  <a:lnTo>
                    <a:pt x="2" y="593"/>
                  </a:lnTo>
                  <a:lnTo>
                    <a:pt x="0" y="589"/>
                  </a:lnTo>
                  <a:lnTo>
                    <a:pt x="0" y="585"/>
                  </a:lnTo>
                  <a:lnTo>
                    <a:pt x="0" y="582"/>
                  </a:lnTo>
                  <a:lnTo>
                    <a:pt x="2" y="578"/>
                  </a:lnTo>
                  <a:lnTo>
                    <a:pt x="293" y="298"/>
                  </a:lnTo>
                  <a:lnTo>
                    <a:pt x="2" y="17"/>
                  </a:lnTo>
                  <a:lnTo>
                    <a:pt x="0" y="14"/>
                  </a:lnTo>
                  <a:lnTo>
                    <a:pt x="0" y="9"/>
                  </a:lnTo>
                  <a:lnTo>
                    <a:pt x="0" y="6"/>
                  </a:lnTo>
                  <a:lnTo>
                    <a:pt x="2" y="3"/>
                  </a:lnTo>
                  <a:lnTo>
                    <a:pt x="6" y="1"/>
                  </a:lnTo>
                  <a:lnTo>
                    <a:pt x="10" y="0"/>
                  </a:lnTo>
                  <a:lnTo>
                    <a:pt x="13" y="0"/>
                  </a:lnTo>
                  <a:lnTo>
                    <a:pt x="17" y="2"/>
                  </a:lnTo>
                  <a:lnTo>
                    <a:pt x="315" y="290"/>
                  </a:lnTo>
                  <a:lnTo>
                    <a:pt x="317" y="293"/>
                  </a:lnTo>
                  <a:lnTo>
                    <a:pt x="318" y="298"/>
                  </a:lnTo>
                  <a:lnTo>
                    <a:pt x="317" y="301"/>
                  </a:lnTo>
                  <a:lnTo>
                    <a:pt x="315" y="304"/>
                  </a:lnTo>
                  <a:lnTo>
                    <a:pt x="17" y="593"/>
                  </a:lnTo>
                  <a:lnTo>
                    <a:pt x="13" y="595"/>
                  </a:lnTo>
                  <a:lnTo>
                    <a:pt x="10" y="596"/>
                  </a:ln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endParaRPr lang="en-US" sz="1100" dirty="0"/>
            </a:p>
          </p:txBody>
        </p:sp>
        <p:sp>
          <p:nvSpPr>
            <p:cNvPr id="65" name="Rectangle 64"/>
            <p:cNvSpPr/>
            <p:nvPr/>
          </p:nvSpPr>
          <p:spPr>
            <a:xfrm>
              <a:off x="11488111" y="5869275"/>
              <a:ext cx="484815" cy="253916"/>
            </a:xfrm>
            <a:prstGeom prst="rect">
              <a:avLst/>
            </a:prstGeom>
          </p:spPr>
          <p:txBody>
            <a:bodyPr wrap="none" anchor="ctr">
              <a:noAutofit/>
            </a:bodyPr>
            <a:lstStyle/>
            <a:p>
              <a:pPr algn="ctr">
                <a:defRPr/>
              </a:pPr>
              <a:r>
                <a:rPr lang="en-US" sz="1000" dirty="0">
                  <a:solidFill>
                    <a:srgbClr val="505555"/>
                  </a:solidFill>
                  <a:latin typeface="Source Sans Pro Light" panose="020B0403030403020204" pitchFamily="34" charset="0"/>
                  <a:ea typeface="Roboto" panose="02000000000000000000" pitchFamily="2" charset="0"/>
                </a:rPr>
                <a:t>1</a:t>
              </a:r>
            </a:p>
          </p:txBody>
        </p:sp>
      </p:grpSp>
      <p:sp>
        <p:nvSpPr>
          <p:cNvPr id="66" name="Rectangle 65"/>
          <p:cNvSpPr/>
          <p:nvPr/>
        </p:nvSpPr>
        <p:spPr>
          <a:xfrm>
            <a:off x="425859" y="521429"/>
            <a:ext cx="5378042" cy="584775"/>
          </a:xfrm>
          <a:prstGeom prst="rect">
            <a:avLst/>
          </a:prstGeom>
        </p:spPr>
        <p:txBody>
          <a:bodyPr vert="horz" lIns="91440" tIns="45720" rIns="91440" bIns="45720" rtlCol="0" anchor="ctr">
            <a:noAutofit/>
          </a:bodyPr>
          <a:lstStyle/>
          <a:p>
            <a:pPr>
              <a:spcBef>
                <a:spcPct val="0"/>
              </a:spcBef>
            </a:pPr>
            <a:r>
              <a:rPr lang="en-US" sz="3600" b="1" spc="-150" noProof="1">
                <a:solidFill>
                  <a:schemeClr val="bg1"/>
                </a:solidFill>
                <a:latin typeface="Roboto" panose="02000000000000000000" pitchFamily="2" charset="0"/>
                <a:ea typeface="Roboto" panose="02000000000000000000" pitchFamily="2" charset="0"/>
                <a:cs typeface="Open Sans Light" panose="020B0306030504020204" pitchFamily="34" charset="0"/>
              </a:rPr>
              <a:t>NEED</a:t>
            </a:r>
          </a:p>
        </p:txBody>
      </p:sp>
      <p:sp>
        <p:nvSpPr>
          <p:cNvPr id="41" name="Rectangle 40"/>
          <p:cNvSpPr/>
          <p:nvPr/>
        </p:nvSpPr>
        <p:spPr>
          <a:xfrm>
            <a:off x="353742" y="1184797"/>
            <a:ext cx="5102390" cy="4136966"/>
          </a:xfrm>
          <a:prstGeom prst="rect">
            <a:avLst/>
          </a:prstGeom>
        </p:spPr>
        <p:txBody>
          <a:bodyPr wrap="square">
            <a:spAutoFit/>
          </a:bodyPr>
          <a:lstStyle/>
          <a:p>
            <a:pPr algn="just">
              <a:lnSpc>
                <a:spcPct val="150000"/>
              </a:lnSpc>
              <a:buClr>
                <a:schemeClr val="bg1"/>
              </a:buClr>
              <a:defRPr/>
            </a:pPr>
            <a:endParaRPr lang="en-US" sz="1600" noProof="1">
              <a:solidFill>
                <a:schemeClr val="bg1"/>
              </a:solidFill>
              <a:latin typeface="+mj-lt"/>
              <a:ea typeface="Open Sans Light" panose="020B0306030504020204" pitchFamily="34" charset="0"/>
              <a:cs typeface="Open Sans Light" panose="020B0306030504020204" pitchFamily="34" charset="0"/>
            </a:endParaRPr>
          </a:p>
          <a:p>
            <a:r>
              <a:rPr lang="en-US" sz="2800" dirty="0"/>
              <a:t>Finding actionable information about a particular restaurant.</a:t>
            </a:r>
          </a:p>
          <a:p>
            <a:endParaRPr lang="en-US" sz="2800" dirty="0"/>
          </a:p>
          <a:p>
            <a:r>
              <a:rPr lang="en-US" sz="2800" dirty="0"/>
              <a:t>Being able to predict future violation scores and critical issues(food poisoning) to support decision making</a:t>
            </a:r>
          </a:p>
          <a:p>
            <a:pPr marL="285750" indent="-285750" algn="just">
              <a:lnSpc>
                <a:spcPct val="150000"/>
              </a:lnSpc>
              <a:buClr>
                <a:schemeClr val="bg1"/>
              </a:buClr>
              <a:buFont typeface="Arial" panose="020B0604020202020204" pitchFamily="34" charset="0"/>
              <a:buChar char="•"/>
              <a:defRPr/>
            </a:pPr>
            <a:endParaRPr lang="en-US" sz="1600" noProof="1">
              <a:solidFill>
                <a:schemeClr val="bg1"/>
              </a:solidFill>
              <a:latin typeface="+mj-lt"/>
              <a:ea typeface="Open Sans Light" panose="020B0306030504020204" pitchFamily="34" charset="0"/>
              <a:cs typeface="Open Sans Light" panose="020B0306030504020204" pitchFamily="34" charset="0"/>
            </a:endParaRPr>
          </a:p>
          <a:p>
            <a:pPr algn="just">
              <a:lnSpc>
                <a:spcPct val="150000"/>
              </a:lnSpc>
              <a:buClr>
                <a:schemeClr val="bg1"/>
              </a:buClr>
              <a:defRPr/>
            </a:pPr>
            <a:endParaRPr lang="en-US" sz="1400" noProof="1">
              <a:solidFill>
                <a:schemeClr val="bg1"/>
              </a:solidFill>
              <a:latin typeface="+mj-lt"/>
              <a:ea typeface="Open Sans Light" panose="020B0306030504020204" pitchFamily="34" charset="0"/>
              <a:cs typeface="Open Sans Light" panose="020B0306030504020204" pitchFamily="34" charset="0"/>
            </a:endParaRPr>
          </a:p>
        </p:txBody>
      </p:sp>
      <p:grpSp>
        <p:nvGrpSpPr>
          <p:cNvPr id="27" name="Group 26"/>
          <p:cNvGrpSpPr/>
          <p:nvPr/>
        </p:nvGrpSpPr>
        <p:grpSpPr>
          <a:xfrm>
            <a:off x="0" y="5109725"/>
            <a:ext cx="12191999" cy="1748277"/>
            <a:chOff x="947738" y="3194420"/>
            <a:chExt cx="7421562" cy="602088"/>
          </a:xfrm>
          <a:solidFill>
            <a:srgbClr val="111111"/>
          </a:solidFill>
        </p:grpSpPr>
        <p:sp>
          <p:nvSpPr>
            <p:cNvPr id="29" name="Freeform 28"/>
            <p:cNvSpPr>
              <a:spLocks/>
            </p:cNvSpPr>
            <p:nvPr/>
          </p:nvSpPr>
          <p:spPr bwMode="auto">
            <a:xfrm>
              <a:off x="4648200" y="3380583"/>
              <a:ext cx="3721100" cy="415925"/>
            </a:xfrm>
            <a:custGeom>
              <a:avLst/>
              <a:gdLst>
                <a:gd name="T0" fmla="*/ 2273 w 2344"/>
                <a:gd name="T1" fmla="*/ 189 h 262"/>
                <a:gd name="T2" fmla="*/ 2153 w 2344"/>
                <a:gd name="T3" fmla="*/ 189 h 262"/>
                <a:gd name="T4" fmla="*/ 2035 w 2344"/>
                <a:gd name="T5" fmla="*/ 172 h 262"/>
                <a:gd name="T6" fmla="*/ 1998 w 2344"/>
                <a:gd name="T7" fmla="*/ 177 h 262"/>
                <a:gd name="T8" fmla="*/ 1939 w 2344"/>
                <a:gd name="T9" fmla="*/ 165 h 262"/>
                <a:gd name="T10" fmla="*/ 1844 w 2344"/>
                <a:gd name="T11" fmla="*/ 172 h 262"/>
                <a:gd name="T12" fmla="*/ 1797 w 2344"/>
                <a:gd name="T13" fmla="*/ 177 h 262"/>
                <a:gd name="T14" fmla="*/ 1736 w 2344"/>
                <a:gd name="T15" fmla="*/ 165 h 262"/>
                <a:gd name="T16" fmla="*/ 1677 w 2344"/>
                <a:gd name="T17" fmla="*/ 142 h 262"/>
                <a:gd name="T18" fmla="*/ 1630 w 2344"/>
                <a:gd name="T19" fmla="*/ 154 h 262"/>
                <a:gd name="T20" fmla="*/ 1607 w 2344"/>
                <a:gd name="T21" fmla="*/ 154 h 262"/>
                <a:gd name="T22" fmla="*/ 1510 w 2344"/>
                <a:gd name="T23" fmla="*/ 165 h 262"/>
                <a:gd name="T24" fmla="*/ 1439 w 2344"/>
                <a:gd name="T25" fmla="*/ 154 h 262"/>
                <a:gd name="T26" fmla="*/ 1404 w 2344"/>
                <a:gd name="T27" fmla="*/ 165 h 262"/>
                <a:gd name="T28" fmla="*/ 1350 w 2344"/>
                <a:gd name="T29" fmla="*/ 154 h 262"/>
                <a:gd name="T30" fmla="*/ 1298 w 2344"/>
                <a:gd name="T31" fmla="*/ 142 h 262"/>
                <a:gd name="T32" fmla="*/ 1274 w 2344"/>
                <a:gd name="T33" fmla="*/ 165 h 262"/>
                <a:gd name="T34" fmla="*/ 1201 w 2344"/>
                <a:gd name="T35" fmla="*/ 154 h 262"/>
                <a:gd name="T36" fmla="*/ 1142 w 2344"/>
                <a:gd name="T37" fmla="*/ 165 h 262"/>
                <a:gd name="T38" fmla="*/ 1107 w 2344"/>
                <a:gd name="T39" fmla="*/ 165 h 262"/>
                <a:gd name="T40" fmla="*/ 1048 w 2344"/>
                <a:gd name="T41" fmla="*/ 149 h 262"/>
                <a:gd name="T42" fmla="*/ 940 w 2344"/>
                <a:gd name="T43" fmla="*/ 106 h 262"/>
                <a:gd name="T44" fmla="*/ 928 w 2344"/>
                <a:gd name="T45" fmla="*/ 95 h 262"/>
                <a:gd name="T46" fmla="*/ 869 w 2344"/>
                <a:gd name="T47" fmla="*/ 73 h 262"/>
                <a:gd name="T48" fmla="*/ 822 w 2344"/>
                <a:gd name="T49" fmla="*/ 59 h 262"/>
                <a:gd name="T50" fmla="*/ 784 w 2344"/>
                <a:gd name="T51" fmla="*/ 59 h 262"/>
                <a:gd name="T52" fmla="*/ 737 w 2344"/>
                <a:gd name="T53" fmla="*/ 69 h 262"/>
                <a:gd name="T54" fmla="*/ 690 w 2344"/>
                <a:gd name="T55" fmla="*/ 71 h 262"/>
                <a:gd name="T56" fmla="*/ 596 w 2344"/>
                <a:gd name="T57" fmla="*/ 71 h 262"/>
                <a:gd name="T58" fmla="*/ 560 w 2344"/>
                <a:gd name="T59" fmla="*/ 69 h 262"/>
                <a:gd name="T60" fmla="*/ 537 w 2344"/>
                <a:gd name="T61" fmla="*/ 83 h 262"/>
                <a:gd name="T62" fmla="*/ 499 w 2344"/>
                <a:gd name="T63" fmla="*/ 83 h 262"/>
                <a:gd name="T64" fmla="*/ 440 w 2344"/>
                <a:gd name="T65" fmla="*/ 3 h 262"/>
                <a:gd name="T66" fmla="*/ 428 w 2344"/>
                <a:gd name="T67" fmla="*/ 64 h 262"/>
                <a:gd name="T68" fmla="*/ 386 w 2344"/>
                <a:gd name="T69" fmla="*/ 106 h 262"/>
                <a:gd name="T70" fmla="*/ 381 w 2344"/>
                <a:gd name="T71" fmla="*/ 36 h 262"/>
                <a:gd name="T72" fmla="*/ 358 w 2344"/>
                <a:gd name="T73" fmla="*/ 12 h 262"/>
                <a:gd name="T74" fmla="*/ 292 w 2344"/>
                <a:gd name="T75" fmla="*/ 24 h 262"/>
                <a:gd name="T76" fmla="*/ 249 w 2344"/>
                <a:gd name="T77" fmla="*/ 154 h 262"/>
                <a:gd name="T78" fmla="*/ 238 w 2344"/>
                <a:gd name="T79" fmla="*/ 106 h 262"/>
                <a:gd name="T80" fmla="*/ 167 w 2344"/>
                <a:gd name="T81" fmla="*/ 106 h 262"/>
                <a:gd name="T82" fmla="*/ 148 w 2344"/>
                <a:gd name="T83" fmla="*/ 130 h 262"/>
                <a:gd name="T84" fmla="*/ 120 w 2344"/>
                <a:gd name="T85" fmla="*/ 130 h 262"/>
                <a:gd name="T86" fmla="*/ 108 w 2344"/>
                <a:gd name="T87" fmla="*/ 71 h 262"/>
                <a:gd name="T88" fmla="*/ 73 w 2344"/>
                <a:gd name="T89" fmla="*/ 48 h 262"/>
                <a:gd name="T90" fmla="*/ 0 w 2344"/>
                <a:gd name="T91" fmla="*/ 12 h 262"/>
                <a:gd name="T92" fmla="*/ 108 w 2344"/>
                <a:gd name="T93" fmla="*/ 262 h 262"/>
                <a:gd name="T94" fmla="*/ 238 w 2344"/>
                <a:gd name="T95" fmla="*/ 262 h 262"/>
                <a:gd name="T96" fmla="*/ 381 w 2344"/>
                <a:gd name="T97" fmla="*/ 262 h 262"/>
                <a:gd name="T98" fmla="*/ 511 w 2344"/>
                <a:gd name="T99" fmla="*/ 262 h 262"/>
                <a:gd name="T100" fmla="*/ 655 w 2344"/>
                <a:gd name="T101" fmla="*/ 262 h 262"/>
                <a:gd name="T102" fmla="*/ 787 w 2344"/>
                <a:gd name="T103" fmla="*/ 262 h 262"/>
                <a:gd name="T104" fmla="*/ 928 w 2344"/>
                <a:gd name="T105" fmla="*/ 262 h 262"/>
                <a:gd name="T106" fmla="*/ 1060 w 2344"/>
                <a:gd name="T107" fmla="*/ 262 h 262"/>
                <a:gd name="T108" fmla="*/ 1201 w 2344"/>
                <a:gd name="T109" fmla="*/ 262 h 262"/>
                <a:gd name="T110" fmla="*/ 1333 w 2344"/>
                <a:gd name="T111" fmla="*/ 262 h 262"/>
                <a:gd name="T112" fmla="*/ 1475 w 2344"/>
                <a:gd name="T113" fmla="*/ 262 h 262"/>
                <a:gd name="T114" fmla="*/ 1607 w 2344"/>
                <a:gd name="T115" fmla="*/ 262 h 262"/>
                <a:gd name="T116" fmla="*/ 1748 w 2344"/>
                <a:gd name="T117" fmla="*/ 262 h 262"/>
                <a:gd name="T118" fmla="*/ 1880 w 2344"/>
                <a:gd name="T119" fmla="*/ 262 h 262"/>
                <a:gd name="T120" fmla="*/ 2024 w 2344"/>
                <a:gd name="T121" fmla="*/ 262 h 262"/>
                <a:gd name="T122" fmla="*/ 2153 w 2344"/>
                <a:gd name="T123" fmla="*/ 262 h 262"/>
                <a:gd name="T124" fmla="*/ 2320 w 2344"/>
                <a:gd name="T125"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44" h="262">
                  <a:moveTo>
                    <a:pt x="2320" y="201"/>
                  </a:moveTo>
                  <a:lnTo>
                    <a:pt x="2320" y="201"/>
                  </a:lnTo>
                  <a:lnTo>
                    <a:pt x="2320" y="196"/>
                  </a:lnTo>
                  <a:lnTo>
                    <a:pt x="2320" y="191"/>
                  </a:lnTo>
                  <a:lnTo>
                    <a:pt x="2320" y="189"/>
                  </a:lnTo>
                  <a:lnTo>
                    <a:pt x="2320" y="189"/>
                  </a:lnTo>
                  <a:lnTo>
                    <a:pt x="2313" y="189"/>
                  </a:lnTo>
                  <a:lnTo>
                    <a:pt x="2309" y="189"/>
                  </a:lnTo>
                  <a:lnTo>
                    <a:pt x="2309" y="189"/>
                  </a:lnTo>
                  <a:lnTo>
                    <a:pt x="2297" y="189"/>
                  </a:lnTo>
                  <a:lnTo>
                    <a:pt x="2297" y="189"/>
                  </a:lnTo>
                  <a:lnTo>
                    <a:pt x="2285" y="189"/>
                  </a:lnTo>
                  <a:lnTo>
                    <a:pt x="2285" y="189"/>
                  </a:lnTo>
                  <a:lnTo>
                    <a:pt x="2273" y="189"/>
                  </a:lnTo>
                  <a:lnTo>
                    <a:pt x="2273" y="189"/>
                  </a:lnTo>
                  <a:lnTo>
                    <a:pt x="2262" y="189"/>
                  </a:lnTo>
                  <a:lnTo>
                    <a:pt x="2262" y="189"/>
                  </a:lnTo>
                  <a:lnTo>
                    <a:pt x="2250" y="189"/>
                  </a:lnTo>
                  <a:lnTo>
                    <a:pt x="2250" y="189"/>
                  </a:lnTo>
                  <a:lnTo>
                    <a:pt x="2224" y="189"/>
                  </a:lnTo>
                  <a:lnTo>
                    <a:pt x="2224" y="189"/>
                  </a:lnTo>
                  <a:lnTo>
                    <a:pt x="2200" y="189"/>
                  </a:lnTo>
                  <a:lnTo>
                    <a:pt x="2200" y="189"/>
                  </a:lnTo>
                  <a:lnTo>
                    <a:pt x="2188" y="189"/>
                  </a:lnTo>
                  <a:lnTo>
                    <a:pt x="2188" y="189"/>
                  </a:lnTo>
                  <a:lnTo>
                    <a:pt x="2165" y="189"/>
                  </a:lnTo>
                  <a:lnTo>
                    <a:pt x="2165" y="189"/>
                  </a:lnTo>
                  <a:lnTo>
                    <a:pt x="2153" y="189"/>
                  </a:lnTo>
                  <a:lnTo>
                    <a:pt x="2153" y="189"/>
                  </a:lnTo>
                  <a:lnTo>
                    <a:pt x="2130" y="189"/>
                  </a:lnTo>
                  <a:lnTo>
                    <a:pt x="2130" y="189"/>
                  </a:lnTo>
                  <a:lnTo>
                    <a:pt x="2118" y="189"/>
                  </a:lnTo>
                  <a:lnTo>
                    <a:pt x="2118" y="189"/>
                  </a:lnTo>
                  <a:lnTo>
                    <a:pt x="2094" y="189"/>
                  </a:lnTo>
                  <a:lnTo>
                    <a:pt x="2094" y="189"/>
                  </a:lnTo>
                  <a:lnTo>
                    <a:pt x="2047" y="189"/>
                  </a:lnTo>
                  <a:lnTo>
                    <a:pt x="2047" y="189"/>
                  </a:lnTo>
                  <a:lnTo>
                    <a:pt x="2035" y="189"/>
                  </a:lnTo>
                  <a:lnTo>
                    <a:pt x="2035" y="189"/>
                  </a:lnTo>
                  <a:lnTo>
                    <a:pt x="2035" y="177"/>
                  </a:lnTo>
                  <a:lnTo>
                    <a:pt x="2035" y="177"/>
                  </a:lnTo>
                  <a:lnTo>
                    <a:pt x="2035" y="172"/>
                  </a:lnTo>
                  <a:lnTo>
                    <a:pt x="2035" y="165"/>
                  </a:lnTo>
                  <a:lnTo>
                    <a:pt x="2035" y="165"/>
                  </a:lnTo>
                  <a:lnTo>
                    <a:pt x="2028" y="165"/>
                  </a:lnTo>
                  <a:lnTo>
                    <a:pt x="2024" y="165"/>
                  </a:lnTo>
                  <a:lnTo>
                    <a:pt x="2024" y="165"/>
                  </a:lnTo>
                  <a:lnTo>
                    <a:pt x="2012" y="165"/>
                  </a:lnTo>
                  <a:lnTo>
                    <a:pt x="2012" y="165"/>
                  </a:lnTo>
                  <a:lnTo>
                    <a:pt x="2005" y="165"/>
                  </a:lnTo>
                  <a:lnTo>
                    <a:pt x="1998" y="165"/>
                  </a:lnTo>
                  <a:lnTo>
                    <a:pt x="1998" y="165"/>
                  </a:lnTo>
                  <a:lnTo>
                    <a:pt x="1998" y="168"/>
                  </a:lnTo>
                  <a:lnTo>
                    <a:pt x="1998" y="172"/>
                  </a:lnTo>
                  <a:lnTo>
                    <a:pt x="1998" y="177"/>
                  </a:lnTo>
                  <a:lnTo>
                    <a:pt x="1998" y="177"/>
                  </a:lnTo>
                  <a:lnTo>
                    <a:pt x="1993" y="180"/>
                  </a:lnTo>
                  <a:lnTo>
                    <a:pt x="1986" y="177"/>
                  </a:lnTo>
                  <a:lnTo>
                    <a:pt x="1986" y="177"/>
                  </a:lnTo>
                  <a:lnTo>
                    <a:pt x="1986" y="165"/>
                  </a:lnTo>
                  <a:lnTo>
                    <a:pt x="1986" y="165"/>
                  </a:lnTo>
                  <a:lnTo>
                    <a:pt x="1981" y="165"/>
                  </a:lnTo>
                  <a:lnTo>
                    <a:pt x="1974" y="165"/>
                  </a:lnTo>
                  <a:lnTo>
                    <a:pt x="1974" y="165"/>
                  </a:lnTo>
                  <a:lnTo>
                    <a:pt x="1962" y="165"/>
                  </a:lnTo>
                  <a:lnTo>
                    <a:pt x="1962" y="165"/>
                  </a:lnTo>
                  <a:lnTo>
                    <a:pt x="1951" y="165"/>
                  </a:lnTo>
                  <a:lnTo>
                    <a:pt x="1951" y="165"/>
                  </a:lnTo>
                  <a:lnTo>
                    <a:pt x="1939" y="165"/>
                  </a:lnTo>
                  <a:lnTo>
                    <a:pt x="1939" y="165"/>
                  </a:lnTo>
                  <a:lnTo>
                    <a:pt x="1934" y="165"/>
                  </a:lnTo>
                  <a:lnTo>
                    <a:pt x="1927" y="165"/>
                  </a:lnTo>
                  <a:lnTo>
                    <a:pt x="1927" y="165"/>
                  </a:lnTo>
                  <a:lnTo>
                    <a:pt x="1927" y="168"/>
                  </a:lnTo>
                  <a:lnTo>
                    <a:pt x="1927" y="172"/>
                  </a:lnTo>
                  <a:lnTo>
                    <a:pt x="1927" y="177"/>
                  </a:lnTo>
                  <a:lnTo>
                    <a:pt x="1927" y="177"/>
                  </a:lnTo>
                  <a:lnTo>
                    <a:pt x="1915" y="177"/>
                  </a:lnTo>
                  <a:lnTo>
                    <a:pt x="1915" y="177"/>
                  </a:lnTo>
                  <a:lnTo>
                    <a:pt x="1892" y="177"/>
                  </a:lnTo>
                  <a:lnTo>
                    <a:pt x="1892" y="177"/>
                  </a:lnTo>
                  <a:lnTo>
                    <a:pt x="1844" y="177"/>
                  </a:lnTo>
                  <a:lnTo>
                    <a:pt x="1844" y="177"/>
                  </a:lnTo>
                  <a:lnTo>
                    <a:pt x="1844" y="172"/>
                  </a:lnTo>
                  <a:lnTo>
                    <a:pt x="1844" y="168"/>
                  </a:lnTo>
                  <a:lnTo>
                    <a:pt x="1844" y="165"/>
                  </a:lnTo>
                  <a:lnTo>
                    <a:pt x="1844" y="165"/>
                  </a:lnTo>
                  <a:lnTo>
                    <a:pt x="1837" y="165"/>
                  </a:lnTo>
                  <a:lnTo>
                    <a:pt x="1833" y="165"/>
                  </a:lnTo>
                  <a:lnTo>
                    <a:pt x="1833" y="165"/>
                  </a:lnTo>
                  <a:lnTo>
                    <a:pt x="1821" y="165"/>
                  </a:lnTo>
                  <a:lnTo>
                    <a:pt x="1821" y="165"/>
                  </a:lnTo>
                  <a:lnTo>
                    <a:pt x="1821" y="177"/>
                  </a:lnTo>
                  <a:lnTo>
                    <a:pt x="1821" y="177"/>
                  </a:lnTo>
                  <a:lnTo>
                    <a:pt x="1809" y="177"/>
                  </a:lnTo>
                  <a:lnTo>
                    <a:pt x="1809" y="177"/>
                  </a:lnTo>
                  <a:lnTo>
                    <a:pt x="1797" y="177"/>
                  </a:lnTo>
                  <a:lnTo>
                    <a:pt x="1797" y="177"/>
                  </a:lnTo>
                  <a:lnTo>
                    <a:pt x="1774" y="177"/>
                  </a:lnTo>
                  <a:lnTo>
                    <a:pt x="1774" y="177"/>
                  </a:lnTo>
                  <a:lnTo>
                    <a:pt x="1774" y="172"/>
                  </a:lnTo>
                  <a:lnTo>
                    <a:pt x="1774" y="165"/>
                  </a:lnTo>
                  <a:lnTo>
                    <a:pt x="1774" y="165"/>
                  </a:lnTo>
                  <a:lnTo>
                    <a:pt x="1767" y="165"/>
                  </a:lnTo>
                  <a:lnTo>
                    <a:pt x="1762" y="165"/>
                  </a:lnTo>
                  <a:lnTo>
                    <a:pt x="1762" y="165"/>
                  </a:lnTo>
                  <a:lnTo>
                    <a:pt x="1755" y="168"/>
                  </a:lnTo>
                  <a:lnTo>
                    <a:pt x="1748" y="165"/>
                  </a:lnTo>
                  <a:lnTo>
                    <a:pt x="1748" y="165"/>
                  </a:lnTo>
                  <a:lnTo>
                    <a:pt x="1743" y="165"/>
                  </a:lnTo>
                  <a:lnTo>
                    <a:pt x="1736" y="165"/>
                  </a:lnTo>
                  <a:lnTo>
                    <a:pt x="1736" y="165"/>
                  </a:lnTo>
                  <a:lnTo>
                    <a:pt x="1731" y="168"/>
                  </a:lnTo>
                  <a:lnTo>
                    <a:pt x="1724" y="165"/>
                  </a:lnTo>
                  <a:lnTo>
                    <a:pt x="1724" y="165"/>
                  </a:lnTo>
                  <a:lnTo>
                    <a:pt x="1724" y="161"/>
                  </a:lnTo>
                  <a:lnTo>
                    <a:pt x="1724" y="154"/>
                  </a:lnTo>
                  <a:lnTo>
                    <a:pt x="1724" y="154"/>
                  </a:lnTo>
                  <a:lnTo>
                    <a:pt x="1724" y="142"/>
                  </a:lnTo>
                  <a:lnTo>
                    <a:pt x="1724" y="142"/>
                  </a:lnTo>
                  <a:lnTo>
                    <a:pt x="1701" y="142"/>
                  </a:lnTo>
                  <a:lnTo>
                    <a:pt x="1701" y="142"/>
                  </a:lnTo>
                  <a:lnTo>
                    <a:pt x="1689" y="142"/>
                  </a:lnTo>
                  <a:lnTo>
                    <a:pt x="1689" y="142"/>
                  </a:lnTo>
                  <a:lnTo>
                    <a:pt x="1684" y="142"/>
                  </a:lnTo>
                  <a:lnTo>
                    <a:pt x="1677" y="142"/>
                  </a:lnTo>
                  <a:lnTo>
                    <a:pt x="1677" y="142"/>
                  </a:lnTo>
                  <a:lnTo>
                    <a:pt x="1677" y="149"/>
                  </a:lnTo>
                  <a:lnTo>
                    <a:pt x="1677" y="154"/>
                  </a:lnTo>
                  <a:lnTo>
                    <a:pt x="1677" y="154"/>
                  </a:lnTo>
                  <a:lnTo>
                    <a:pt x="1672" y="154"/>
                  </a:lnTo>
                  <a:lnTo>
                    <a:pt x="1665" y="154"/>
                  </a:lnTo>
                  <a:lnTo>
                    <a:pt x="1665" y="154"/>
                  </a:lnTo>
                  <a:lnTo>
                    <a:pt x="1654" y="154"/>
                  </a:lnTo>
                  <a:lnTo>
                    <a:pt x="1654" y="154"/>
                  </a:lnTo>
                  <a:lnTo>
                    <a:pt x="1642" y="154"/>
                  </a:lnTo>
                  <a:lnTo>
                    <a:pt x="1642" y="154"/>
                  </a:lnTo>
                  <a:lnTo>
                    <a:pt x="1635" y="154"/>
                  </a:lnTo>
                  <a:lnTo>
                    <a:pt x="1630" y="154"/>
                  </a:lnTo>
                  <a:lnTo>
                    <a:pt x="1630" y="154"/>
                  </a:lnTo>
                  <a:lnTo>
                    <a:pt x="1630" y="151"/>
                  </a:lnTo>
                  <a:lnTo>
                    <a:pt x="1630" y="149"/>
                  </a:lnTo>
                  <a:lnTo>
                    <a:pt x="1630" y="142"/>
                  </a:lnTo>
                  <a:lnTo>
                    <a:pt x="1630" y="142"/>
                  </a:lnTo>
                  <a:lnTo>
                    <a:pt x="1628" y="142"/>
                  </a:lnTo>
                  <a:lnTo>
                    <a:pt x="1625" y="142"/>
                  </a:lnTo>
                  <a:lnTo>
                    <a:pt x="1618" y="142"/>
                  </a:lnTo>
                  <a:lnTo>
                    <a:pt x="1618" y="142"/>
                  </a:lnTo>
                  <a:lnTo>
                    <a:pt x="1618" y="149"/>
                  </a:lnTo>
                  <a:lnTo>
                    <a:pt x="1618" y="154"/>
                  </a:lnTo>
                  <a:lnTo>
                    <a:pt x="1618" y="154"/>
                  </a:lnTo>
                  <a:lnTo>
                    <a:pt x="1614" y="154"/>
                  </a:lnTo>
                  <a:lnTo>
                    <a:pt x="1607" y="154"/>
                  </a:lnTo>
                  <a:lnTo>
                    <a:pt x="1607" y="154"/>
                  </a:lnTo>
                  <a:lnTo>
                    <a:pt x="1595" y="154"/>
                  </a:lnTo>
                  <a:lnTo>
                    <a:pt x="1595" y="154"/>
                  </a:lnTo>
                  <a:lnTo>
                    <a:pt x="1583" y="154"/>
                  </a:lnTo>
                  <a:lnTo>
                    <a:pt x="1583" y="154"/>
                  </a:lnTo>
                  <a:lnTo>
                    <a:pt x="1571" y="154"/>
                  </a:lnTo>
                  <a:lnTo>
                    <a:pt x="1571" y="154"/>
                  </a:lnTo>
                  <a:lnTo>
                    <a:pt x="1564" y="154"/>
                  </a:lnTo>
                  <a:lnTo>
                    <a:pt x="1559" y="154"/>
                  </a:lnTo>
                  <a:lnTo>
                    <a:pt x="1559" y="154"/>
                  </a:lnTo>
                  <a:lnTo>
                    <a:pt x="1557" y="156"/>
                  </a:lnTo>
                  <a:lnTo>
                    <a:pt x="1559" y="161"/>
                  </a:lnTo>
                  <a:lnTo>
                    <a:pt x="1559" y="165"/>
                  </a:lnTo>
                  <a:lnTo>
                    <a:pt x="1559" y="165"/>
                  </a:lnTo>
                  <a:lnTo>
                    <a:pt x="1510" y="165"/>
                  </a:lnTo>
                  <a:lnTo>
                    <a:pt x="1510" y="165"/>
                  </a:lnTo>
                  <a:lnTo>
                    <a:pt x="1498" y="165"/>
                  </a:lnTo>
                  <a:lnTo>
                    <a:pt x="1498" y="165"/>
                  </a:lnTo>
                  <a:lnTo>
                    <a:pt x="1475" y="165"/>
                  </a:lnTo>
                  <a:lnTo>
                    <a:pt x="1475" y="165"/>
                  </a:lnTo>
                  <a:lnTo>
                    <a:pt x="1475" y="161"/>
                  </a:lnTo>
                  <a:lnTo>
                    <a:pt x="1477" y="156"/>
                  </a:lnTo>
                  <a:lnTo>
                    <a:pt x="1475" y="154"/>
                  </a:lnTo>
                  <a:lnTo>
                    <a:pt x="1475" y="154"/>
                  </a:lnTo>
                  <a:lnTo>
                    <a:pt x="1463" y="154"/>
                  </a:lnTo>
                  <a:lnTo>
                    <a:pt x="1463" y="154"/>
                  </a:lnTo>
                  <a:lnTo>
                    <a:pt x="1451" y="154"/>
                  </a:lnTo>
                  <a:lnTo>
                    <a:pt x="1451" y="154"/>
                  </a:lnTo>
                  <a:lnTo>
                    <a:pt x="1439" y="154"/>
                  </a:lnTo>
                  <a:lnTo>
                    <a:pt x="1439" y="154"/>
                  </a:lnTo>
                  <a:lnTo>
                    <a:pt x="1427" y="154"/>
                  </a:lnTo>
                  <a:lnTo>
                    <a:pt x="1427" y="154"/>
                  </a:lnTo>
                  <a:lnTo>
                    <a:pt x="1423" y="154"/>
                  </a:lnTo>
                  <a:lnTo>
                    <a:pt x="1416" y="154"/>
                  </a:lnTo>
                  <a:lnTo>
                    <a:pt x="1416" y="154"/>
                  </a:lnTo>
                  <a:lnTo>
                    <a:pt x="1416" y="156"/>
                  </a:lnTo>
                  <a:lnTo>
                    <a:pt x="1416" y="161"/>
                  </a:lnTo>
                  <a:lnTo>
                    <a:pt x="1416" y="165"/>
                  </a:lnTo>
                  <a:lnTo>
                    <a:pt x="1416" y="165"/>
                  </a:lnTo>
                  <a:lnTo>
                    <a:pt x="1413" y="168"/>
                  </a:lnTo>
                  <a:lnTo>
                    <a:pt x="1411" y="165"/>
                  </a:lnTo>
                  <a:lnTo>
                    <a:pt x="1404" y="165"/>
                  </a:lnTo>
                  <a:lnTo>
                    <a:pt x="1404" y="165"/>
                  </a:lnTo>
                  <a:lnTo>
                    <a:pt x="1404" y="161"/>
                  </a:lnTo>
                  <a:lnTo>
                    <a:pt x="1404" y="156"/>
                  </a:lnTo>
                  <a:lnTo>
                    <a:pt x="1404" y="154"/>
                  </a:lnTo>
                  <a:lnTo>
                    <a:pt x="1404" y="154"/>
                  </a:lnTo>
                  <a:lnTo>
                    <a:pt x="1399" y="154"/>
                  </a:lnTo>
                  <a:lnTo>
                    <a:pt x="1392" y="154"/>
                  </a:lnTo>
                  <a:lnTo>
                    <a:pt x="1392" y="154"/>
                  </a:lnTo>
                  <a:lnTo>
                    <a:pt x="1380" y="154"/>
                  </a:lnTo>
                  <a:lnTo>
                    <a:pt x="1380" y="154"/>
                  </a:lnTo>
                  <a:lnTo>
                    <a:pt x="1369" y="154"/>
                  </a:lnTo>
                  <a:lnTo>
                    <a:pt x="1369" y="154"/>
                  </a:lnTo>
                  <a:lnTo>
                    <a:pt x="1357" y="154"/>
                  </a:lnTo>
                  <a:lnTo>
                    <a:pt x="1357" y="154"/>
                  </a:lnTo>
                  <a:lnTo>
                    <a:pt x="1350" y="154"/>
                  </a:lnTo>
                  <a:lnTo>
                    <a:pt x="1345" y="154"/>
                  </a:lnTo>
                  <a:lnTo>
                    <a:pt x="1345" y="154"/>
                  </a:lnTo>
                  <a:lnTo>
                    <a:pt x="1345" y="149"/>
                  </a:lnTo>
                  <a:lnTo>
                    <a:pt x="1345" y="142"/>
                  </a:lnTo>
                  <a:lnTo>
                    <a:pt x="1345" y="142"/>
                  </a:lnTo>
                  <a:lnTo>
                    <a:pt x="1343" y="142"/>
                  </a:lnTo>
                  <a:lnTo>
                    <a:pt x="1338" y="142"/>
                  </a:lnTo>
                  <a:lnTo>
                    <a:pt x="1333" y="142"/>
                  </a:lnTo>
                  <a:lnTo>
                    <a:pt x="1333" y="142"/>
                  </a:lnTo>
                  <a:lnTo>
                    <a:pt x="1310" y="142"/>
                  </a:lnTo>
                  <a:lnTo>
                    <a:pt x="1310" y="142"/>
                  </a:lnTo>
                  <a:lnTo>
                    <a:pt x="1303" y="142"/>
                  </a:lnTo>
                  <a:lnTo>
                    <a:pt x="1300" y="142"/>
                  </a:lnTo>
                  <a:lnTo>
                    <a:pt x="1298" y="142"/>
                  </a:lnTo>
                  <a:lnTo>
                    <a:pt x="1298" y="142"/>
                  </a:lnTo>
                  <a:lnTo>
                    <a:pt x="1298" y="149"/>
                  </a:lnTo>
                  <a:lnTo>
                    <a:pt x="1298" y="154"/>
                  </a:lnTo>
                  <a:lnTo>
                    <a:pt x="1298" y="154"/>
                  </a:lnTo>
                  <a:lnTo>
                    <a:pt x="1291" y="154"/>
                  </a:lnTo>
                  <a:lnTo>
                    <a:pt x="1286" y="154"/>
                  </a:lnTo>
                  <a:lnTo>
                    <a:pt x="1286" y="154"/>
                  </a:lnTo>
                  <a:lnTo>
                    <a:pt x="1279" y="154"/>
                  </a:lnTo>
                  <a:lnTo>
                    <a:pt x="1274" y="154"/>
                  </a:lnTo>
                  <a:lnTo>
                    <a:pt x="1274" y="154"/>
                  </a:lnTo>
                  <a:lnTo>
                    <a:pt x="1272" y="156"/>
                  </a:lnTo>
                  <a:lnTo>
                    <a:pt x="1272" y="161"/>
                  </a:lnTo>
                  <a:lnTo>
                    <a:pt x="1274" y="165"/>
                  </a:lnTo>
                  <a:lnTo>
                    <a:pt x="1274" y="165"/>
                  </a:lnTo>
                  <a:lnTo>
                    <a:pt x="1248" y="165"/>
                  </a:lnTo>
                  <a:lnTo>
                    <a:pt x="1248" y="165"/>
                  </a:lnTo>
                  <a:lnTo>
                    <a:pt x="1225" y="165"/>
                  </a:lnTo>
                  <a:lnTo>
                    <a:pt x="1225" y="165"/>
                  </a:lnTo>
                  <a:lnTo>
                    <a:pt x="1225" y="161"/>
                  </a:lnTo>
                  <a:lnTo>
                    <a:pt x="1227" y="156"/>
                  </a:lnTo>
                  <a:lnTo>
                    <a:pt x="1225" y="154"/>
                  </a:lnTo>
                  <a:lnTo>
                    <a:pt x="1225" y="154"/>
                  </a:lnTo>
                  <a:lnTo>
                    <a:pt x="1220" y="154"/>
                  </a:lnTo>
                  <a:lnTo>
                    <a:pt x="1213" y="154"/>
                  </a:lnTo>
                  <a:lnTo>
                    <a:pt x="1213" y="154"/>
                  </a:lnTo>
                  <a:lnTo>
                    <a:pt x="1208" y="154"/>
                  </a:lnTo>
                  <a:lnTo>
                    <a:pt x="1201" y="154"/>
                  </a:lnTo>
                  <a:lnTo>
                    <a:pt x="1201" y="154"/>
                  </a:lnTo>
                  <a:lnTo>
                    <a:pt x="1201" y="161"/>
                  </a:lnTo>
                  <a:lnTo>
                    <a:pt x="1201" y="165"/>
                  </a:lnTo>
                  <a:lnTo>
                    <a:pt x="1201" y="165"/>
                  </a:lnTo>
                  <a:lnTo>
                    <a:pt x="1199" y="168"/>
                  </a:lnTo>
                  <a:lnTo>
                    <a:pt x="1197" y="165"/>
                  </a:lnTo>
                  <a:lnTo>
                    <a:pt x="1189" y="165"/>
                  </a:lnTo>
                  <a:lnTo>
                    <a:pt x="1189" y="165"/>
                  </a:lnTo>
                  <a:lnTo>
                    <a:pt x="1178" y="165"/>
                  </a:lnTo>
                  <a:lnTo>
                    <a:pt x="1178" y="165"/>
                  </a:lnTo>
                  <a:lnTo>
                    <a:pt x="1154" y="165"/>
                  </a:lnTo>
                  <a:lnTo>
                    <a:pt x="1154" y="165"/>
                  </a:lnTo>
                  <a:lnTo>
                    <a:pt x="1147" y="165"/>
                  </a:lnTo>
                  <a:lnTo>
                    <a:pt x="1142" y="165"/>
                  </a:lnTo>
                  <a:lnTo>
                    <a:pt x="1142" y="165"/>
                  </a:lnTo>
                  <a:lnTo>
                    <a:pt x="1142" y="163"/>
                  </a:lnTo>
                  <a:lnTo>
                    <a:pt x="1142" y="161"/>
                  </a:lnTo>
                  <a:lnTo>
                    <a:pt x="1142" y="154"/>
                  </a:lnTo>
                  <a:lnTo>
                    <a:pt x="1142" y="154"/>
                  </a:lnTo>
                  <a:lnTo>
                    <a:pt x="1138" y="154"/>
                  </a:lnTo>
                  <a:lnTo>
                    <a:pt x="1131" y="154"/>
                  </a:lnTo>
                  <a:lnTo>
                    <a:pt x="1131" y="154"/>
                  </a:lnTo>
                  <a:lnTo>
                    <a:pt x="1131" y="165"/>
                  </a:lnTo>
                  <a:lnTo>
                    <a:pt x="1131" y="165"/>
                  </a:lnTo>
                  <a:lnTo>
                    <a:pt x="1126" y="165"/>
                  </a:lnTo>
                  <a:lnTo>
                    <a:pt x="1119" y="165"/>
                  </a:lnTo>
                  <a:lnTo>
                    <a:pt x="1119" y="165"/>
                  </a:lnTo>
                  <a:lnTo>
                    <a:pt x="1107" y="165"/>
                  </a:lnTo>
                  <a:lnTo>
                    <a:pt x="1107" y="165"/>
                  </a:lnTo>
                  <a:lnTo>
                    <a:pt x="1095" y="165"/>
                  </a:lnTo>
                  <a:lnTo>
                    <a:pt x="1095" y="165"/>
                  </a:lnTo>
                  <a:lnTo>
                    <a:pt x="1072" y="165"/>
                  </a:lnTo>
                  <a:lnTo>
                    <a:pt x="1072" y="165"/>
                  </a:lnTo>
                  <a:lnTo>
                    <a:pt x="1060" y="165"/>
                  </a:lnTo>
                  <a:lnTo>
                    <a:pt x="1060" y="165"/>
                  </a:lnTo>
                  <a:lnTo>
                    <a:pt x="1060" y="161"/>
                  </a:lnTo>
                  <a:lnTo>
                    <a:pt x="1060" y="154"/>
                  </a:lnTo>
                  <a:lnTo>
                    <a:pt x="1060" y="154"/>
                  </a:lnTo>
                  <a:lnTo>
                    <a:pt x="1058" y="154"/>
                  </a:lnTo>
                  <a:lnTo>
                    <a:pt x="1053" y="154"/>
                  </a:lnTo>
                  <a:lnTo>
                    <a:pt x="1048" y="154"/>
                  </a:lnTo>
                  <a:lnTo>
                    <a:pt x="1048" y="154"/>
                  </a:lnTo>
                  <a:lnTo>
                    <a:pt x="1048" y="149"/>
                  </a:lnTo>
                  <a:lnTo>
                    <a:pt x="1048" y="142"/>
                  </a:lnTo>
                  <a:lnTo>
                    <a:pt x="1048" y="142"/>
                  </a:lnTo>
                  <a:lnTo>
                    <a:pt x="1041" y="142"/>
                  </a:lnTo>
                  <a:lnTo>
                    <a:pt x="1036" y="142"/>
                  </a:lnTo>
                  <a:lnTo>
                    <a:pt x="1036" y="142"/>
                  </a:lnTo>
                  <a:lnTo>
                    <a:pt x="1010" y="142"/>
                  </a:lnTo>
                  <a:lnTo>
                    <a:pt x="1010" y="142"/>
                  </a:lnTo>
                  <a:lnTo>
                    <a:pt x="1010" y="130"/>
                  </a:lnTo>
                  <a:lnTo>
                    <a:pt x="1010" y="130"/>
                  </a:lnTo>
                  <a:lnTo>
                    <a:pt x="1010" y="106"/>
                  </a:lnTo>
                  <a:lnTo>
                    <a:pt x="1010" y="106"/>
                  </a:lnTo>
                  <a:lnTo>
                    <a:pt x="987" y="106"/>
                  </a:lnTo>
                  <a:lnTo>
                    <a:pt x="987" y="106"/>
                  </a:lnTo>
                  <a:lnTo>
                    <a:pt x="940" y="106"/>
                  </a:lnTo>
                  <a:lnTo>
                    <a:pt x="940" y="106"/>
                  </a:lnTo>
                  <a:lnTo>
                    <a:pt x="940" y="118"/>
                  </a:lnTo>
                  <a:lnTo>
                    <a:pt x="940" y="118"/>
                  </a:lnTo>
                  <a:lnTo>
                    <a:pt x="940" y="130"/>
                  </a:lnTo>
                  <a:lnTo>
                    <a:pt x="940" y="130"/>
                  </a:lnTo>
                  <a:lnTo>
                    <a:pt x="940" y="137"/>
                  </a:lnTo>
                  <a:lnTo>
                    <a:pt x="940" y="142"/>
                  </a:lnTo>
                  <a:lnTo>
                    <a:pt x="940" y="142"/>
                  </a:lnTo>
                  <a:lnTo>
                    <a:pt x="937" y="144"/>
                  </a:lnTo>
                  <a:lnTo>
                    <a:pt x="935" y="142"/>
                  </a:lnTo>
                  <a:lnTo>
                    <a:pt x="928" y="142"/>
                  </a:lnTo>
                  <a:lnTo>
                    <a:pt x="928" y="142"/>
                  </a:lnTo>
                  <a:lnTo>
                    <a:pt x="928" y="95"/>
                  </a:lnTo>
                  <a:lnTo>
                    <a:pt x="928" y="95"/>
                  </a:lnTo>
                  <a:lnTo>
                    <a:pt x="928" y="71"/>
                  </a:lnTo>
                  <a:lnTo>
                    <a:pt x="928" y="71"/>
                  </a:lnTo>
                  <a:lnTo>
                    <a:pt x="916" y="71"/>
                  </a:lnTo>
                  <a:lnTo>
                    <a:pt x="916" y="71"/>
                  </a:lnTo>
                  <a:lnTo>
                    <a:pt x="904" y="71"/>
                  </a:lnTo>
                  <a:lnTo>
                    <a:pt x="904" y="71"/>
                  </a:lnTo>
                  <a:lnTo>
                    <a:pt x="893" y="71"/>
                  </a:lnTo>
                  <a:lnTo>
                    <a:pt x="893" y="71"/>
                  </a:lnTo>
                  <a:lnTo>
                    <a:pt x="881" y="71"/>
                  </a:lnTo>
                  <a:lnTo>
                    <a:pt x="881" y="71"/>
                  </a:lnTo>
                  <a:lnTo>
                    <a:pt x="874" y="71"/>
                  </a:lnTo>
                  <a:lnTo>
                    <a:pt x="869" y="71"/>
                  </a:lnTo>
                  <a:lnTo>
                    <a:pt x="869" y="71"/>
                  </a:lnTo>
                  <a:lnTo>
                    <a:pt x="869" y="73"/>
                  </a:lnTo>
                  <a:lnTo>
                    <a:pt x="869" y="76"/>
                  </a:lnTo>
                  <a:lnTo>
                    <a:pt x="869" y="83"/>
                  </a:lnTo>
                  <a:lnTo>
                    <a:pt x="869" y="83"/>
                  </a:lnTo>
                  <a:lnTo>
                    <a:pt x="845" y="83"/>
                  </a:lnTo>
                  <a:lnTo>
                    <a:pt x="845" y="83"/>
                  </a:lnTo>
                  <a:lnTo>
                    <a:pt x="834" y="83"/>
                  </a:lnTo>
                  <a:lnTo>
                    <a:pt x="834" y="83"/>
                  </a:lnTo>
                  <a:lnTo>
                    <a:pt x="834" y="71"/>
                  </a:lnTo>
                  <a:lnTo>
                    <a:pt x="834" y="71"/>
                  </a:lnTo>
                  <a:lnTo>
                    <a:pt x="834" y="64"/>
                  </a:lnTo>
                  <a:lnTo>
                    <a:pt x="834" y="59"/>
                  </a:lnTo>
                  <a:lnTo>
                    <a:pt x="834" y="59"/>
                  </a:lnTo>
                  <a:lnTo>
                    <a:pt x="827" y="59"/>
                  </a:lnTo>
                  <a:lnTo>
                    <a:pt x="822" y="59"/>
                  </a:lnTo>
                  <a:lnTo>
                    <a:pt x="822" y="59"/>
                  </a:lnTo>
                  <a:lnTo>
                    <a:pt x="820" y="57"/>
                  </a:lnTo>
                  <a:lnTo>
                    <a:pt x="822" y="52"/>
                  </a:lnTo>
                  <a:lnTo>
                    <a:pt x="822" y="48"/>
                  </a:lnTo>
                  <a:lnTo>
                    <a:pt x="822" y="48"/>
                  </a:lnTo>
                  <a:lnTo>
                    <a:pt x="798" y="48"/>
                  </a:lnTo>
                  <a:lnTo>
                    <a:pt x="798" y="48"/>
                  </a:lnTo>
                  <a:lnTo>
                    <a:pt x="791" y="48"/>
                  </a:lnTo>
                  <a:lnTo>
                    <a:pt x="787" y="48"/>
                  </a:lnTo>
                  <a:lnTo>
                    <a:pt x="787" y="48"/>
                  </a:lnTo>
                  <a:lnTo>
                    <a:pt x="784" y="52"/>
                  </a:lnTo>
                  <a:lnTo>
                    <a:pt x="787" y="59"/>
                  </a:lnTo>
                  <a:lnTo>
                    <a:pt x="787" y="59"/>
                  </a:lnTo>
                  <a:lnTo>
                    <a:pt x="784" y="59"/>
                  </a:lnTo>
                  <a:lnTo>
                    <a:pt x="779" y="59"/>
                  </a:lnTo>
                  <a:lnTo>
                    <a:pt x="772" y="59"/>
                  </a:lnTo>
                  <a:lnTo>
                    <a:pt x="772" y="59"/>
                  </a:lnTo>
                  <a:lnTo>
                    <a:pt x="772" y="64"/>
                  </a:lnTo>
                  <a:lnTo>
                    <a:pt x="772" y="71"/>
                  </a:lnTo>
                  <a:lnTo>
                    <a:pt x="772" y="71"/>
                  </a:lnTo>
                  <a:lnTo>
                    <a:pt x="761" y="71"/>
                  </a:lnTo>
                  <a:lnTo>
                    <a:pt x="761" y="71"/>
                  </a:lnTo>
                  <a:lnTo>
                    <a:pt x="749" y="71"/>
                  </a:lnTo>
                  <a:lnTo>
                    <a:pt x="749" y="71"/>
                  </a:lnTo>
                  <a:lnTo>
                    <a:pt x="744" y="71"/>
                  </a:lnTo>
                  <a:lnTo>
                    <a:pt x="737" y="71"/>
                  </a:lnTo>
                  <a:lnTo>
                    <a:pt x="737" y="71"/>
                  </a:lnTo>
                  <a:lnTo>
                    <a:pt x="737" y="69"/>
                  </a:lnTo>
                  <a:lnTo>
                    <a:pt x="737" y="64"/>
                  </a:lnTo>
                  <a:lnTo>
                    <a:pt x="737" y="59"/>
                  </a:lnTo>
                  <a:lnTo>
                    <a:pt x="737" y="59"/>
                  </a:lnTo>
                  <a:lnTo>
                    <a:pt x="725" y="59"/>
                  </a:lnTo>
                  <a:lnTo>
                    <a:pt x="725" y="59"/>
                  </a:lnTo>
                  <a:lnTo>
                    <a:pt x="702" y="59"/>
                  </a:lnTo>
                  <a:lnTo>
                    <a:pt x="702" y="59"/>
                  </a:lnTo>
                  <a:lnTo>
                    <a:pt x="702" y="64"/>
                  </a:lnTo>
                  <a:lnTo>
                    <a:pt x="702" y="69"/>
                  </a:lnTo>
                  <a:lnTo>
                    <a:pt x="702" y="71"/>
                  </a:lnTo>
                  <a:lnTo>
                    <a:pt x="702" y="71"/>
                  </a:lnTo>
                  <a:lnTo>
                    <a:pt x="697" y="71"/>
                  </a:lnTo>
                  <a:lnTo>
                    <a:pt x="690" y="71"/>
                  </a:lnTo>
                  <a:lnTo>
                    <a:pt x="690" y="71"/>
                  </a:lnTo>
                  <a:lnTo>
                    <a:pt x="685" y="71"/>
                  </a:lnTo>
                  <a:lnTo>
                    <a:pt x="678" y="71"/>
                  </a:lnTo>
                  <a:lnTo>
                    <a:pt x="678" y="71"/>
                  </a:lnTo>
                  <a:lnTo>
                    <a:pt x="666" y="71"/>
                  </a:lnTo>
                  <a:lnTo>
                    <a:pt x="666" y="71"/>
                  </a:lnTo>
                  <a:lnTo>
                    <a:pt x="655" y="71"/>
                  </a:lnTo>
                  <a:lnTo>
                    <a:pt x="655" y="71"/>
                  </a:lnTo>
                  <a:lnTo>
                    <a:pt x="643" y="71"/>
                  </a:lnTo>
                  <a:lnTo>
                    <a:pt x="643" y="71"/>
                  </a:lnTo>
                  <a:lnTo>
                    <a:pt x="619" y="71"/>
                  </a:lnTo>
                  <a:lnTo>
                    <a:pt x="619" y="71"/>
                  </a:lnTo>
                  <a:lnTo>
                    <a:pt x="607" y="71"/>
                  </a:lnTo>
                  <a:lnTo>
                    <a:pt x="607" y="71"/>
                  </a:lnTo>
                  <a:lnTo>
                    <a:pt x="596" y="71"/>
                  </a:lnTo>
                  <a:lnTo>
                    <a:pt x="596" y="71"/>
                  </a:lnTo>
                  <a:lnTo>
                    <a:pt x="589" y="71"/>
                  </a:lnTo>
                  <a:lnTo>
                    <a:pt x="584" y="71"/>
                  </a:lnTo>
                  <a:lnTo>
                    <a:pt x="584" y="71"/>
                  </a:lnTo>
                  <a:lnTo>
                    <a:pt x="584" y="64"/>
                  </a:lnTo>
                  <a:lnTo>
                    <a:pt x="584" y="59"/>
                  </a:lnTo>
                  <a:lnTo>
                    <a:pt x="584" y="59"/>
                  </a:lnTo>
                  <a:lnTo>
                    <a:pt x="577" y="59"/>
                  </a:lnTo>
                  <a:lnTo>
                    <a:pt x="572" y="59"/>
                  </a:lnTo>
                  <a:lnTo>
                    <a:pt x="572" y="59"/>
                  </a:lnTo>
                  <a:lnTo>
                    <a:pt x="560" y="59"/>
                  </a:lnTo>
                  <a:lnTo>
                    <a:pt x="560" y="59"/>
                  </a:lnTo>
                  <a:lnTo>
                    <a:pt x="560" y="64"/>
                  </a:lnTo>
                  <a:lnTo>
                    <a:pt x="560" y="69"/>
                  </a:lnTo>
                  <a:lnTo>
                    <a:pt x="560" y="71"/>
                  </a:lnTo>
                  <a:lnTo>
                    <a:pt x="560" y="71"/>
                  </a:lnTo>
                  <a:lnTo>
                    <a:pt x="558" y="71"/>
                  </a:lnTo>
                  <a:lnTo>
                    <a:pt x="553" y="71"/>
                  </a:lnTo>
                  <a:lnTo>
                    <a:pt x="549" y="71"/>
                  </a:lnTo>
                  <a:lnTo>
                    <a:pt x="549" y="71"/>
                  </a:lnTo>
                  <a:lnTo>
                    <a:pt x="542" y="71"/>
                  </a:lnTo>
                  <a:lnTo>
                    <a:pt x="539" y="71"/>
                  </a:lnTo>
                  <a:lnTo>
                    <a:pt x="537" y="71"/>
                  </a:lnTo>
                  <a:lnTo>
                    <a:pt x="537" y="71"/>
                  </a:lnTo>
                  <a:lnTo>
                    <a:pt x="534" y="73"/>
                  </a:lnTo>
                  <a:lnTo>
                    <a:pt x="534" y="76"/>
                  </a:lnTo>
                  <a:lnTo>
                    <a:pt x="537" y="83"/>
                  </a:lnTo>
                  <a:lnTo>
                    <a:pt x="537" y="83"/>
                  </a:lnTo>
                  <a:lnTo>
                    <a:pt x="523" y="83"/>
                  </a:lnTo>
                  <a:lnTo>
                    <a:pt x="523" y="83"/>
                  </a:lnTo>
                  <a:lnTo>
                    <a:pt x="518" y="83"/>
                  </a:lnTo>
                  <a:lnTo>
                    <a:pt x="511" y="83"/>
                  </a:lnTo>
                  <a:lnTo>
                    <a:pt x="511" y="83"/>
                  </a:lnTo>
                  <a:lnTo>
                    <a:pt x="511" y="88"/>
                  </a:lnTo>
                  <a:lnTo>
                    <a:pt x="511" y="95"/>
                  </a:lnTo>
                  <a:lnTo>
                    <a:pt x="511" y="95"/>
                  </a:lnTo>
                  <a:lnTo>
                    <a:pt x="509" y="95"/>
                  </a:lnTo>
                  <a:lnTo>
                    <a:pt x="506" y="95"/>
                  </a:lnTo>
                  <a:lnTo>
                    <a:pt x="499" y="95"/>
                  </a:lnTo>
                  <a:lnTo>
                    <a:pt x="499" y="95"/>
                  </a:lnTo>
                  <a:lnTo>
                    <a:pt x="499" y="83"/>
                  </a:lnTo>
                  <a:lnTo>
                    <a:pt x="499" y="83"/>
                  </a:lnTo>
                  <a:lnTo>
                    <a:pt x="499" y="36"/>
                  </a:lnTo>
                  <a:lnTo>
                    <a:pt x="499" y="36"/>
                  </a:lnTo>
                  <a:lnTo>
                    <a:pt x="499" y="24"/>
                  </a:lnTo>
                  <a:lnTo>
                    <a:pt x="499" y="24"/>
                  </a:lnTo>
                  <a:lnTo>
                    <a:pt x="499" y="0"/>
                  </a:lnTo>
                  <a:lnTo>
                    <a:pt x="499" y="0"/>
                  </a:lnTo>
                  <a:lnTo>
                    <a:pt x="476" y="0"/>
                  </a:lnTo>
                  <a:lnTo>
                    <a:pt x="476" y="0"/>
                  </a:lnTo>
                  <a:lnTo>
                    <a:pt x="452" y="0"/>
                  </a:lnTo>
                  <a:lnTo>
                    <a:pt x="452" y="0"/>
                  </a:lnTo>
                  <a:lnTo>
                    <a:pt x="447" y="0"/>
                  </a:lnTo>
                  <a:lnTo>
                    <a:pt x="440" y="0"/>
                  </a:lnTo>
                  <a:lnTo>
                    <a:pt x="440" y="0"/>
                  </a:lnTo>
                  <a:lnTo>
                    <a:pt x="440" y="3"/>
                  </a:lnTo>
                  <a:lnTo>
                    <a:pt x="440" y="5"/>
                  </a:lnTo>
                  <a:lnTo>
                    <a:pt x="440" y="12"/>
                  </a:lnTo>
                  <a:lnTo>
                    <a:pt x="440" y="12"/>
                  </a:lnTo>
                  <a:lnTo>
                    <a:pt x="435" y="12"/>
                  </a:lnTo>
                  <a:lnTo>
                    <a:pt x="428" y="12"/>
                  </a:lnTo>
                  <a:lnTo>
                    <a:pt x="428" y="12"/>
                  </a:lnTo>
                  <a:lnTo>
                    <a:pt x="428" y="17"/>
                  </a:lnTo>
                  <a:lnTo>
                    <a:pt x="428" y="24"/>
                  </a:lnTo>
                  <a:lnTo>
                    <a:pt x="428" y="24"/>
                  </a:lnTo>
                  <a:lnTo>
                    <a:pt x="428" y="48"/>
                  </a:lnTo>
                  <a:lnTo>
                    <a:pt x="428" y="48"/>
                  </a:lnTo>
                  <a:lnTo>
                    <a:pt x="428" y="59"/>
                  </a:lnTo>
                  <a:lnTo>
                    <a:pt x="428" y="59"/>
                  </a:lnTo>
                  <a:lnTo>
                    <a:pt x="428" y="64"/>
                  </a:lnTo>
                  <a:lnTo>
                    <a:pt x="428" y="71"/>
                  </a:lnTo>
                  <a:lnTo>
                    <a:pt x="428" y="71"/>
                  </a:lnTo>
                  <a:lnTo>
                    <a:pt x="424" y="71"/>
                  </a:lnTo>
                  <a:lnTo>
                    <a:pt x="417" y="71"/>
                  </a:lnTo>
                  <a:lnTo>
                    <a:pt x="417" y="71"/>
                  </a:lnTo>
                  <a:lnTo>
                    <a:pt x="417" y="73"/>
                  </a:lnTo>
                  <a:lnTo>
                    <a:pt x="417" y="76"/>
                  </a:lnTo>
                  <a:lnTo>
                    <a:pt x="417" y="83"/>
                  </a:lnTo>
                  <a:lnTo>
                    <a:pt x="417" y="83"/>
                  </a:lnTo>
                  <a:lnTo>
                    <a:pt x="417" y="106"/>
                  </a:lnTo>
                  <a:lnTo>
                    <a:pt x="417" y="106"/>
                  </a:lnTo>
                  <a:lnTo>
                    <a:pt x="393" y="106"/>
                  </a:lnTo>
                  <a:lnTo>
                    <a:pt x="393" y="106"/>
                  </a:lnTo>
                  <a:lnTo>
                    <a:pt x="386" y="106"/>
                  </a:lnTo>
                  <a:lnTo>
                    <a:pt x="384" y="106"/>
                  </a:lnTo>
                  <a:lnTo>
                    <a:pt x="381" y="106"/>
                  </a:lnTo>
                  <a:lnTo>
                    <a:pt x="381" y="106"/>
                  </a:lnTo>
                  <a:lnTo>
                    <a:pt x="381" y="102"/>
                  </a:lnTo>
                  <a:lnTo>
                    <a:pt x="381" y="95"/>
                  </a:lnTo>
                  <a:lnTo>
                    <a:pt x="381" y="95"/>
                  </a:lnTo>
                  <a:lnTo>
                    <a:pt x="381" y="90"/>
                  </a:lnTo>
                  <a:lnTo>
                    <a:pt x="381" y="83"/>
                  </a:lnTo>
                  <a:lnTo>
                    <a:pt x="381" y="83"/>
                  </a:lnTo>
                  <a:lnTo>
                    <a:pt x="381" y="59"/>
                  </a:lnTo>
                  <a:lnTo>
                    <a:pt x="381" y="59"/>
                  </a:lnTo>
                  <a:lnTo>
                    <a:pt x="381" y="48"/>
                  </a:lnTo>
                  <a:lnTo>
                    <a:pt x="381" y="48"/>
                  </a:lnTo>
                  <a:lnTo>
                    <a:pt x="381" y="36"/>
                  </a:lnTo>
                  <a:lnTo>
                    <a:pt x="381" y="36"/>
                  </a:lnTo>
                  <a:lnTo>
                    <a:pt x="381" y="29"/>
                  </a:lnTo>
                  <a:lnTo>
                    <a:pt x="381" y="24"/>
                  </a:lnTo>
                  <a:lnTo>
                    <a:pt x="381" y="24"/>
                  </a:lnTo>
                  <a:lnTo>
                    <a:pt x="379" y="24"/>
                  </a:lnTo>
                  <a:lnTo>
                    <a:pt x="374" y="24"/>
                  </a:lnTo>
                  <a:lnTo>
                    <a:pt x="370" y="24"/>
                  </a:lnTo>
                  <a:lnTo>
                    <a:pt x="370" y="24"/>
                  </a:lnTo>
                  <a:lnTo>
                    <a:pt x="370" y="22"/>
                  </a:lnTo>
                  <a:lnTo>
                    <a:pt x="370" y="17"/>
                  </a:lnTo>
                  <a:lnTo>
                    <a:pt x="370" y="12"/>
                  </a:lnTo>
                  <a:lnTo>
                    <a:pt x="370" y="12"/>
                  </a:lnTo>
                  <a:lnTo>
                    <a:pt x="358" y="12"/>
                  </a:lnTo>
                  <a:lnTo>
                    <a:pt x="358" y="12"/>
                  </a:lnTo>
                  <a:lnTo>
                    <a:pt x="334" y="12"/>
                  </a:lnTo>
                  <a:lnTo>
                    <a:pt x="334" y="12"/>
                  </a:lnTo>
                  <a:lnTo>
                    <a:pt x="322" y="12"/>
                  </a:lnTo>
                  <a:lnTo>
                    <a:pt x="322" y="12"/>
                  </a:lnTo>
                  <a:lnTo>
                    <a:pt x="315" y="12"/>
                  </a:lnTo>
                  <a:lnTo>
                    <a:pt x="311" y="12"/>
                  </a:lnTo>
                  <a:lnTo>
                    <a:pt x="311" y="12"/>
                  </a:lnTo>
                  <a:lnTo>
                    <a:pt x="311" y="17"/>
                  </a:lnTo>
                  <a:lnTo>
                    <a:pt x="311" y="24"/>
                  </a:lnTo>
                  <a:lnTo>
                    <a:pt x="311" y="24"/>
                  </a:lnTo>
                  <a:lnTo>
                    <a:pt x="304" y="24"/>
                  </a:lnTo>
                  <a:lnTo>
                    <a:pt x="299" y="24"/>
                  </a:lnTo>
                  <a:lnTo>
                    <a:pt x="299" y="24"/>
                  </a:lnTo>
                  <a:lnTo>
                    <a:pt x="292" y="24"/>
                  </a:lnTo>
                  <a:lnTo>
                    <a:pt x="285" y="24"/>
                  </a:lnTo>
                  <a:lnTo>
                    <a:pt x="285" y="24"/>
                  </a:lnTo>
                  <a:lnTo>
                    <a:pt x="261" y="24"/>
                  </a:lnTo>
                  <a:lnTo>
                    <a:pt x="261" y="24"/>
                  </a:lnTo>
                  <a:lnTo>
                    <a:pt x="261" y="36"/>
                  </a:lnTo>
                  <a:lnTo>
                    <a:pt x="261" y="36"/>
                  </a:lnTo>
                  <a:lnTo>
                    <a:pt x="261" y="59"/>
                  </a:lnTo>
                  <a:lnTo>
                    <a:pt x="261" y="59"/>
                  </a:lnTo>
                  <a:lnTo>
                    <a:pt x="261" y="106"/>
                  </a:lnTo>
                  <a:lnTo>
                    <a:pt x="261" y="106"/>
                  </a:lnTo>
                  <a:lnTo>
                    <a:pt x="261" y="154"/>
                  </a:lnTo>
                  <a:lnTo>
                    <a:pt x="261" y="154"/>
                  </a:lnTo>
                  <a:lnTo>
                    <a:pt x="256" y="154"/>
                  </a:lnTo>
                  <a:lnTo>
                    <a:pt x="249" y="154"/>
                  </a:lnTo>
                  <a:lnTo>
                    <a:pt x="249" y="154"/>
                  </a:lnTo>
                  <a:lnTo>
                    <a:pt x="249" y="149"/>
                  </a:lnTo>
                  <a:lnTo>
                    <a:pt x="249" y="142"/>
                  </a:lnTo>
                  <a:lnTo>
                    <a:pt x="249" y="142"/>
                  </a:lnTo>
                  <a:lnTo>
                    <a:pt x="247" y="142"/>
                  </a:lnTo>
                  <a:lnTo>
                    <a:pt x="245" y="142"/>
                  </a:lnTo>
                  <a:lnTo>
                    <a:pt x="238" y="142"/>
                  </a:lnTo>
                  <a:lnTo>
                    <a:pt x="238" y="142"/>
                  </a:lnTo>
                  <a:lnTo>
                    <a:pt x="238" y="137"/>
                  </a:lnTo>
                  <a:lnTo>
                    <a:pt x="238" y="130"/>
                  </a:lnTo>
                  <a:lnTo>
                    <a:pt x="238" y="130"/>
                  </a:lnTo>
                  <a:lnTo>
                    <a:pt x="238" y="118"/>
                  </a:lnTo>
                  <a:lnTo>
                    <a:pt x="238" y="118"/>
                  </a:lnTo>
                  <a:lnTo>
                    <a:pt x="238" y="106"/>
                  </a:lnTo>
                  <a:lnTo>
                    <a:pt x="238" y="106"/>
                  </a:lnTo>
                  <a:lnTo>
                    <a:pt x="238" y="83"/>
                  </a:lnTo>
                  <a:lnTo>
                    <a:pt x="238" y="83"/>
                  </a:lnTo>
                  <a:lnTo>
                    <a:pt x="226" y="83"/>
                  </a:lnTo>
                  <a:lnTo>
                    <a:pt x="226" y="83"/>
                  </a:lnTo>
                  <a:lnTo>
                    <a:pt x="214" y="83"/>
                  </a:lnTo>
                  <a:lnTo>
                    <a:pt x="214" y="83"/>
                  </a:lnTo>
                  <a:lnTo>
                    <a:pt x="214" y="85"/>
                  </a:lnTo>
                  <a:lnTo>
                    <a:pt x="214" y="88"/>
                  </a:lnTo>
                  <a:lnTo>
                    <a:pt x="214" y="95"/>
                  </a:lnTo>
                  <a:lnTo>
                    <a:pt x="214" y="95"/>
                  </a:lnTo>
                  <a:lnTo>
                    <a:pt x="167" y="95"/>
                  </a:lnTo>
                  <a:lnTo>
                    <a:pt x="167" y="95"/>
                  </a:lnTo>
                  <a:lnTo>
                    <a:pt x="167" y="106"/>
                  </a:lnTo>
                  <a:lnTo>
                    <a:pt x="167" y="106"/>
                  </a:lnTo>
                  <a:lnTo>
                    <a:pt x="167" y="118"/>
                  </a:lnTo>
                  <a:lnTo>
                    <a:pt x="167" y="118"/>
                  </a:lnTo>
                  <a:lnTo>
                    <a:pt x="167" y="130"/>
                  </a:lnTo>
                  <a:lnTo>
                    <a:pt x="167" y="130"/>
                  </a:lnTo>
                  <a:lnTo>
                    <a:pt x="167" y="137"/>
                  </a:lnTo>
                  <a:lnTo>
                    <a:pt x="167" y="142"/>
                  </a:lnTo>
                  <a:lnTo>
                    <a:pt x="167" y="142"/>
                  </a:lnTo>
                  <a:lnTo>
                    <a:pt x="155" y="142"/>
                  </a:lnTo>
                  <a:lnTo>
                    <a:pt x="155" y="142"/>
                  </a:lnTo>
                  <a:lnTo>
                    <a:pt x="155" y="130"/>
                  </a:lnTo>
                  <a:lnTo>
                    <a:pt x="155" y="130"/>
                  </a:lnTo>
                  <a:lnTo>
                    <a:pt x="153" y="130"/>
                  </a:lnTo>
                  <a:lnTo>
                    <a:pt x="148" y="130"/>
                  </a:lnTo>
                  <a:lnTo>
                    <a:pt x="143" y="130"/>
                  </a:lnTo>
                  <a:lnTo>
                    <a:pt x="143" y="130"/>
                  </a:lnTo>
                  <a:lnTo>
                    <a:pt x="143" y="137"/>
                  </a:lnTo>
                  <a:lnTo>
                    <a:pt x="143" y="139"/>
                  </a:lnTo>
                  <a:lnTo>
                    <a:pt x="143" y="142"/>
                  </a:lnTo>
                  <a:lnTo>
                    <a:pt x="143" y="142"/>
                  </a:lnTo>
                  <a:lnTo>
                    <a:pt x="132" y="142"/>
                  </a:lnTo>
                  <a:lnTo>
                    <a:pt x="132" y="142"/>
                  </a:lnTo>
                  <a:lnTo>
                    <a:pt x="132" y="130"/>
                  </a:lnTo>
                  <a:lnTo>
                    <a:pt x="132" y="130"/>
                  </a:lnTo>
                  <a:lnTo>
                    <a:pt x="129" y="130"/>
                  </a:lnTo>
                  <a:lnTo>
                    <a:pt x="124" y="130"/>
                  </a:lnTo>
                  <a:lnTo>
                    <a:pt x="120" y="130"/>
                  </a:lnTo>
                  <a:lnTo>
                    <a:pt x="120" y="130"/>
                  </a:lnTo>
                  <a:lnTo>
                    <a:pt x="113" y="130"/>
                  </a:lnTo>
                  <a:lnTo>
                    <a:pt x="110" y="130"/>
                  </a:lnTo>
                  <a:lnTo>
                    <a:pt x="108" y="130"/>
                  </a:lnTo>
                  <a:lnTo>
                    <a:pt x="108" y="130"/>
                  </a:lnTo>
                  <a:lnTo>
                    <a:pt x="108" y="125"/>
                  </a:lnTo>
                  <a:lnTo>
                    <a:pt x="108" y="118"/>
                  </a:lnTo>
                  <a:lnTo>
                    <a:pt x="108" y="118"/>
                  </a:lnTo>
                  <a:lnTo>
                    <a:pt x="108" y="114"/>
                  </a:lnTo>
                  <a:lnTo>
                    <a:pt x="108" y="106"/>
                  </a:lnTo>
                  <a:lnTo>
                    <a:pt x="108" y="106"/>
                  </a:lnTo>
                  <a:lnTo>
                    <a:pt x="108" y="95"/>
                  </a:lnTo>
                  <a:lnTo>
                    <a:pt x="108" y="95"/>
                  </a:lnTo>
                  <a:lnTo>
                    <a:pt x="108" y="71"/>
                  </a:lnTo>
                  <a:lnTo>
                    <a:pt x="108" y="71"/>
                  </a:lnTo>
                  <a:lnTo>
                    <a:pt x="96" y="71"/>
                  </a:lnTo>
                  <a:lnTo>
                    <a:pt x="96" y="71"/>
                  </a:lnTo>
                  <a:lnTo>
                    <a:pt x="89" y="71"/>
                  </a:lnTo>
                  <a:lnTo>
                    <a:pt x="84" y="71"/>
                  </a:lnTo>
                  <a:lnTo>
                    <a:pt x="84" y="71"/>
                  </a:lnTo>
                  <a:lnTo>
                    <a:pt x="84" y="66"/>
                  </a:lnTo>
                  <a:lnTo>
                    <a:pt x="84" y="59"/>
                  </a:lnTo>
                  <a:lnTo>
                    <a:pt x="84" y="59"/>
                  </a:lnTo>
                  <a:lnTo>
                    <a:pt x="82" y="59"/>
                  </a:lnTo>
                  <a:lnTo>
                    <a:pt x="77" y="59"/>
                  </a:lnTo>
                  <a:lnTo>
                    <a:pt x="73" y="59"/>
                  </a:lnTo>
                  <a:lnTo>
                    <a:pt x="73" y="59"/>
                  </a:lnTo>
                  <a:lnTo>
                    <a:pt x="73" y="48"/>
                  </a:lnTo>
                  <a:lnTo>
                    <a:pt x="73" y="48"/>
                  </a:lnTo>
                  <a:lnTo>
                    <a:pt x="70" y="41"/>
                  </a:lnTo>
                  <a:lnTo>
                    <a:pt x="73" y="36"/>
                  </a:lnTo>
                  <a:lnTo>
                    <a:pt x="73" y="36"/>
                  </a:lnTo>
                  <a:lnTo>
                    <a:pt x="75" y="36"/>
                  </a:lnTo>
                  <a:lnTo>
                    <a:pt x="77" y="36"/>
                  </a:lnTo>
                  <a:lnTo>
                    <a:pt x="84" y="36"/>
                  </a:lnTo>
                  <a:lnTo>
                    <a:pt x="84" y="36"/>
                  </a:lnTo>
                  <a:lnTo>
                    <a:pt x="84" y="12"/>
                  </a:lnTo>
                  <a:lnTo>
                    <a:pt x="84" y="12"/>
                  </a:lnTo>
                  <a:lnTo>
                    <a:pt x="35" y="12"/>
                  </a:lnTo>
                  <a:lnTo>
                    <a:pt x="35" y="12"/>
                  </a:lnTo>
                  <a:lnTo>
                    <a:pt x="11" y="12"/>
                  </a:lnTo>
                  <a:lnTo>
                    <a:pt x="11" y="12"/>
                  </a:lnTo>
                  <a:lnTo>
                    <a:pt x="0" y="12"/>
                  </a:lnTo>
                  <a:lnTo>
                    <a:pt x="0" y="262"/>
                  </a:lnTo>
                  <a:lnTo>
                    <a:pt x="0" y="262"/>
                  </a:lnTo>
                  <a:lnTo>
                    <a:pt x="23" y="262"/>
                  </a:lnTo>
                  <a:lnTo>
                    <a:pt x="23" y="262"/>
                  </a:lnTo>
                  <a:lnTo>
                    <a:pt x="35" y="262"/>
                  </a:lnTo>
                  <a:lnTo>
                    <a:pt x="35" y="262"/>
                  </a:lnTo>
                  <a:lnTo>
                    <a:pt x="61" y="262"/>
                  </a:lnTo>
                  <a:lnTo>
                    <a:pt x="61" y="262"/>
                  </a:lnTo>
                  <a:lnTo>
                    <a:pt x="73" y="262"/>
                  </a:lnTo>
                  <a:lnTo>
                    <a:pt x="73" y="262"/>
                  </a:lnTo>
                  <a:lnTo>
                    <a:pt x="96" y="262"/>
                  </a:lnTo>
                  <a:lnTo>
                    <a:pt x="96" y="262"/>
                  </a:lnTo>
                  <a:lnTo>
                    <a:pt x="108" y="262"/>
                  </a:lnTo>
                  <a:lnTo>
                    <a:pt x="108" y="262"/>
                  </a:lnTo>
                  <a:lnTo>
                    <a:pt x="132" y="262"/>
                  </a:lnTo>
                  <a:lnTo>
                    <a:pt x="132" y="262"/>
                  </a:lnTo>
                  <a:lnTo>
                    <a:pt x="143" y="262"/>
                  </a:lnTo>
                  <a:lnTo>
                    <a:pt x="143" y="262"/>
                  </a:lnTo>
                  <a:lnTo>
                    <a:pt x="167" y="262"/>
                  </a:lnTo>
                  <a:lnTo>
                    <a:pt x="167" y="262"/>
                  </a:lnTo>
                  <a:lnTo>
                    <a:pt x="179" y="262"/>
                  </a:lnTo>
                  <a:lnTo>
                    <a:pt x="179" y="262"/>
                  </a:lnTo>
                  <a:lnTo>
                    <a:pt x="202" y="262"/>
                  </a:lnTo>
                  <a:lnTo>
                    <a:pt x="202" y="262"/>
                  </a:lnTo>
                  <a:lnTo>
                    <a:pt x="214" y="262"/>
                  </a:lnTo>
                  <a:lnTo>
                    <a:pt x="214" y="262"/>
                  </a:lnTo>
                  <a:lnTo>
                    <a:pt x="238" y="262"/>
                  </a:lnTo>
                  <a:lnTo>
                    <a:pt x="238" y="262"/>
                  </a:lnTo>
                  <a:lnTo>
                    <a:pt x="249" y="262"/>
                  </a:lnTo>
                  <a:lnTo>
                    <a:pt x="249" y="262"/>
                  </a:lnTo>
                  <a:lnTo>
                    <a:pt x="299" y="262"/>
                  </a:lnTo>
                  <a:lnTo>
                    <a:pt x="299" y="262"/>
                  </a:lnTo>
                  <a:lnTo>
                    <a:pt x="311" y="262"/>
                  </a:lnTo>
                  <a:lnTo>
                    <a:pt x="311" y="262"/>
                  </a:lnTo>
                  <a:lnTo>
                    <a:pt x="334" y="262"/>
                  </a:lnTo>
                  <a:lnTo>
                    <a:pt x="334" y="262"/>
                  </a:lnTo>
                  <a:lnTo>
                    <a:pt x="346" y="262"/>
                  </a:lnTo>
                  <a:lnTo>
                    <a:pt x="346" y="262"/>
                  </a:lnTo>
                  <a:lnTo>
                    <a:pt x="370" y="262"/>
                  </a:lnTo>
                  <a:lnTo>
                    <a:pt x="370" y="262"/>
                  </a:lnTo>
                  <a:lnTo>
                    <a:pt x="381" y="262"/>
                  </a:lnTo>
                  <a:lnTo>
                    <a:pt x="381" y="262"/>
                  </a:lnTo>
                  <a:lnTo>
                    <a:pt x="405" y="262"/>
                  </a:lnTo>
                  <a:lnTo>
                    <a:pt x="405" y="262"/>
                  </a:lnTo>
                  <a:lnTo>
                    <a:pt x="417" y="262"/>
                  </a:lnTo>
                  <a:lnTo>
                    <a:pt x="417" y="262"/>
                  </a:lnTo>
                  <a:lnTo>
                    <a:pt x="440" y="262"/>
                  </a:lnTo>
                  <a:lnTo>
                    <a:pt x="440" y="262"/>
                  </a:lnTo>
                  <a:lnTo>
                    <a:pt x="452" y="262"/>
                  </a:lnTo>
                  <a:lnTo>
                    <a:pt x="452" y="262"/>
                  </a:lnTo>
                  <a:lnTo>
                    <a:pt x="476" y="262"/>
                  </a:lnTo>
                  <a:lnTo>
                    <a:pt x="476" y="262"/>
                  </a:lnTo>
                  <a:lnTo>
                    <a:pt x="487" y="262"/>
                  </a:lnTo>
                  <a:lnTo>
                    <a:pt x="487" y="262"/>
                  </a:lnTo>
                  <a:lnTo>
                    <a:pt x="511" y="262"/>
                  </a:lnTo>
                  <a:lnTo>
                    <a:pt x="511" y="262"/>
                  </a:lnTo>
                  <a:lnTo>
                    <a:pt x="523" y="262"/>
                  </a:lnTo>
                  <a:lnTo>
                    <a:pt x="523" y="262"/>
                  </a:lnTo>
                  <a:lnTo>
                    <a:pt x="572" y="262"/>
                  </a:lnTo>
                  <a:lnTo>
                    <a:pt x="572" y="262"/>
                  </a:lnTo>
                  <a:lnTo>
                    <a:pt x="584" y="262"/>
                  </a:lnTo>
                  <a:lnTo>
                    <a:pt x="584" y="262"/>
                  </a:lnTo>
                  <a:lnTo>
                    <a:pt x="607" y="262"/>
                  </a:lnTo>
                  <a:lnTo>
                    <a:pt x="607" y="262"/>
                  </a:lnTo>
                  <a:lnTo>
                    <a:pt x="619" y="262"/>
                  </a:lnTo>
                  <a:lnTo>
                    <a:pt x="619" y="262"/>
                  </a:lnTo>
                  <a:lnTo>
                    <a:pt x="643" y="262"/>
                  </a:lnTo>
                  <a:lnTo>
                    <a:pt x="643" y="262"/>
                  </a:lnTo>
                  <a:lnTo>
                    <a:pt x="655" y="262"/>
                  </a:lnTo>
                  <a:lnTo>
                    <a:pt x="655" y="262"/>
                  </a:lnTo>
                  <a:lnTo>
                    <a:pt x="678" y="262"/>
                  </a:lnTo>
                  <a:lnTo>
                    <a:pt x="678" y="262"/>
                  </a:lnTo>
                  <a:lnTo>
                    <a:pt x="690" y="262"/>
                  </a:lnTo>
                  <a:lnTo>
                    <a:pt x="690" y="262"/>
                  </a:lnTo>
                  <a:lnTo>
                    <a:pt x="714" y="262"/>
                  </a:lnTo>
                  <a:lnTo>
                    <a:pt x="714" y="262"/>
                  </a:lnTo>
                  <a:lnTo>
                    <a:pt x="725" y="262"/>
                  </a:lnTo>
                  <a:lnTo>
                    <a:pt x="725" y="262"/>
                  </a:lnTo>
                  <a:lnTo>
                    <a:pt x="749" y="262"/>
                  </a:lnTo>
                  <a:lnTo>
                    <a:pt x="749" y="262"/>
                  </a:lnTo>
                  <a:lnTo>
                    <a:pt x="761" y="262"/>
                  </a:lnTo>
                  <a:lnTo>
                    <a:pt x="761" y="262"/>
                  </a:lnTo>
                  <a:lnTo>
                    <a:pt x="787" y="262"/>
                  </a:lnTo>
                  <a:lnTo>
                    <a:pt x="787" y="262"/>
                  </a:lnTo>
                  <a:lnTo>
                    <a:pt x="798" y="262"/>
                  </a:lnTo>
                  <a:lnTo>
                    <a:pt x="798" y="262"/>
                  </a:lnTo>
                  <a:lnTo>
                    <a:pt x="845" y="262"/>
                  </a:lnTo>
                  <a:lnTo>
                    <a:pt x="845" y="262"/>
                  </a:lnTo>
                  <a:lnTo>
                    <a:pt x="857" y="262"/>
                  </a:lnTo>
                  <a:lnTo>
                    <a:pt x="857" y="262"/>
                  </a:lnTo>
                  <a:lnTo>
                    <a:pt x="881" y="262"/>
                  </a:lnTo>
                  <a:lnTo>
                    <a:pt x="881" y="262"/>
                  </a:lnTo>
                  <a:lnTo>
                    <a:pt x="893" y="262"/>
                  </a:lnTo>
                  <a:lnTo>
                    <a:pt x="893" y="262"/>
                  </a:lnTo>
                  <a:lnTo>
                    <a:pt x="916" y="262"/>
                  </a:lnTo>
                  <a:lnTo>
                    <a:pt x="916" y="262"/>
                  </a:lnTo>
                  <a:lnTo>
                    <a:pt x="928" y="262"/>
                  </a:lnTo>
                  <a:lnTo>
                    <a:pt x="928" y="262"/>
                  </a:lnTo>
                  <a:lnTo>
                    <a:pt x="951" y="262"/>
                  </a:lnTo>
                  <a:lnTo>
                    <a:pt x="951" y="262"/>
                  </a:lnTo>
                  <a:lnTo>
                    <a:pt x="963" y="262"/>
                  </a:lnTo>
                  <a:lnTo>
                    <a:pt x="963" y="262"/>
                  </a:lnTo>
                  <a:lnTo>
                    <a:pt x="987" y="262"/>
                  </a:lnTo>
                  <a:lnTo>
                    <a:pt x="987" y="262"/>
                  </a:lnTo>
                  <a:lnTo>
                    <a:pt x="999" y="262"/>
                  </a:lnTo>
                  <a:lnTo>
                    <a:pt x="999" y="262"/>
                  </a:lnTo>
                  <a:lnTo>
                    <a:pt x="1022" y="262"/>
                  </a:lnTo>
                  <a:lnTo>
                    <a:pt x="1022" y="262"/>
                  </a:lnTo>
                  <a:lnTo>
                    <a:pt x="1036" y="262"/>
                  </a:lnTo>
                  <a:lnTo>
                    <a:pt x="1036" y="262"/>
                  </a:lnTo>
                  <a:lnTo>
                    <a:pt x="1060" y="262"/>
                  </a:lnTo>
                  <a:lnTo>
                    <a:pt x="1060" y="262"/>
                  </a:lnTo>
                  <a:lnTo>
                    <a:pt x="1072" y="262"/>
                  </a:lnTo>
                  <a:lnTo>
                    <a:pt x="1072" y="262"/>
                  </a:lnTo>
                  <a:lnTo>
                    <a:pt x="1119" y="262"/>
                  </a:lnTo>
                  <a:lnTo>
                    <a:pt x="1119" y="262"/>
                  </a:lnTo>
                  <a:lnTo>
                    <a:pt x="1131" y="262"/>
                  </a:lnTo>
                  <a:lnTo>
                    <a:pt x="1131" y="262"/>
                  </a:lnTo>
                  <a:lnTo>
                    <a:pt x="1154" y="262"/>
                  </a:lnTo>
                  <a:lnTo>
                    <a:pt x="1154" y="262"/>
                  </a:lnTo>
                  <a:lnTo>
                    <a:pt x="1166" y="262"/>
                  </a:lnTo>
                  <a:lnTo>
                    <a:pt x="1166" y="262"/>
                  </a:lnTo>
                  <a:lnTo>
                    <a:pt x="1189" y="262"/>
                  </a:lnTo>
                  <a:lnTo>
                    <a:pt x="1189" y="262"/>
                  </a:lnTo>
                  <a:lnTo>
                    <a:pt x="1201" y="262"/>
                  </a:lnTo>
                  <a:lnTo>
                    <a:pt x="1201" y="262"/>
                  </a:lnTo>
                  <a:lnTo>
                    <a:pt x="1225" y="262"/>
                  </a:lnTo>
                  <a:lnTo>
                    <a:pt x="1225" y="262"/>
                  </a:lnTo>
                  <a:lnTo>
                    <a:pt x="1237" y="262"/>
                  </a:lnTo>
                  <a:lnTo>
                    <a:pt x="1237" y="262"/>
                  </a:lnTo>
                  <a:lnTo>
                    <a:pt x="1260" y="262"/>
                  </a:lnTo>
                  <a:lnTo>
                    <a:pt x="1260" y="262"/>
                  </a:lnTo>
                  <a:lnTo>
                    <a:pt x="1274" y="262"/>
                  </a:lnTo>
                  <a:lnTo>
                    <a:pt x="1274" y="262"/>
                  </a:lnTo>
                  <a:lnTo>
                    <a:pt x="1298" y="262"/>
                  </a:lnTo>
                  <a:lnTo>
                    <a:pt x="1298" y="262"/>
                  </a:lnTo>
                  <a:lnTo>
                    <a:pt x="1310" y="262"/>
                  </a:lnTo>
                  <a:lnTo>
                    <a:pt x="1310" y="262"/>
                  </a:lnTo>
                  <a:lnTo>
                    <a:pt x="1333" y="262"/>
                  </a:lnTo>
                  <a:lnTo>
                    <a:pt x="1333" y="262"/>
                  </a:lnTo>
                  <a:lnTo>
                    <a:pt x="1345" y="262"/>
                  </a:lnTo>
                  <a:lnTo>
                    <a:pt x="1345" y="262"/>
                  </a:lnTo>
                  <a:lnTo>
                    <a:pt x="1392" y="262"/>
                  </a:lnTo>
                  <a:lnTo>
                    <a:pt x="1392" y="262"/>
                  </a:lnTo>
                  <a:lnTo>
                    <a:pt x="1404" y="262"/>
                  </a:lnTo>
                  <a:lnTo>
                    <a:pt x="1404" y="262"/>
                  </a:lnTo>
                  <a:lnTo>
                    <a:pt x="1427" y="262"/>
                  </a:lnTo>
                  <a:lnTo>
                    <a:pt x="1427" y="262"/>
                  </a:lnTo>
                  <a:lnTo>
                    <a:pt x="1439" y="262"/>
                  </a:lnTo>
                  <a:lnTo>
                    <a:pt x="1439" y="262"/>
                  </a:lnTo>
                  <a:lnTo>
                    <a:pt x="1463" y="262"/>
                  </a:lnTo>
                  <a:lnTo>
                    <a:pt x="1463" y="262"/>
                  </a:lnTo>
                  <a:lnTo>
                    <a:pt x="1475" y="262"/>
                  </a:lnTo>
                  <a:lnTo>
                    <a:pt x="1475" y="262"/>
                  </a:lnTo>
                  <a:lnTo>
                    <a:pt x="1498" y="262"/>
                  </a:lnTo>
                  <a:lnTo>
                    <a:pt x="1498" y="262"/>
                  </a:lnTo>
                  <a:lnTo>
                    <a:pt x="1510" y="262"/>
                  </a:lnTo>
                  <a:lnTo>
                    <a:pt x="1510" y="262"/>
                  </a:lnTo>
                  <a:lnTo>
                    <a:pt x="1536" y="262"/>
                  </a:lnTo>
                  <a:lnTo>
                    <a:pt x="1536" y="262"/>
                  </a:lnTo>
                  <a:lnTo>
                    <a:pt x="1548" y="262"/>
                  </a:lnTo>
                  <a:lnTo>
                    <a:pt x="1548" y="262"/>
                  </a:lnTo>
                  <a:lnTo>
                    <a:pt x="1571" y="262"/>
                  </a:lnTo>
                  <a:lnTo>
                    <a:pt x="1571" y="262"/>
                  </a:lnTo>
                  <a:lnTo>
                    <a:pt x="1583" y="262"/>
                  </a:lnTo>
                  <a:lnTo>
                    <a:pt x="1583" y="262"/>
                  </a:lnTo>
                  <a:lnTo>
                    <a:pt x="1607" y="262"/>
                  </a:lnTo>
                  <a:lnTo>
                    <a:pt x="1607" y="262"/>
                  </a:lnTo>
                  <a:lnTo>
                    <a:pt x="1618" y="262"/>
                  </a:lnTo>
                  <a:lnTo>
                    <a:pt x="1618" y="262"/>
                  </a:lnTo>
                  <a:lnTo>
                    <a:pt x="1665" y="262"/>
                  </a:lnTo>
                  <a:lnTo>
                    <a:pt x="1665" y="262"/>
                  </a:lnTo>
                  <a:lnTo>
                    <a:pt x="1677" y="262"/>
                  </a:lnTo>
                  <a:lnTo>
                    <a:pt x="1677" y="262"/>
                  </a:lnTo>
                  <a:lnTo>
                    <a:pt x="1701" y="262"/>
                  </a:lnTo>
                  <a:lnTo>
                    <a:pt x="1701" y="262"/>
                  </a:lnTo>
                  <a:lnTo>
                    <a:pt x="1713" y="262"/>
                  </a:lnTo>
                  <a:lnTo>
                    <a:pt x="1713" y="262"/>
                  </a:lnTo>
                  <a:lnTo>
                    <a:pt x="1736" y="262"/>
                  </a:lnTo>
                  <a:lnTo>
                    <a:pt x="1736" y="262"/>
                  </a:lnTo>
                  <a:lnTo>
                    <a:pt x="1748" y="262"/>
                  </a:lnTo>
                  <a:lnTo>
                    <a:pt x="1748" y="262"/>
                  </a:lnTo>
                  <a:lnTo>
                    <a:pt x="1774" y="262"/>
                  </a:lnTo>
                  <a:lnTo>
                    <a:pt x="1774" y="262"/>
                  </a:lnTo>
                  <a:lnTo>
                    <a:pt x="1786" y="262"/>
                  </a:lnTo>
                  <a:lnTo>
                    <a:pt x="1786" y="262"/>
                  </a:lnTo>
                  <a:lnTo>
                    <a:pt x="1809" y="262"/>
                  </a:lnTo>
                  <a:lnTo>
                    <a:pt x="1809" y="262"/>
                  </a:lnTo>
                  <a:lnTo>
                    <a:pt x="1821" y="262"/>
                  </a:lnTo>
                  <a:lnTo>
                    <a:pt x="1821" y="262"/>
                  </a:lnTo>
                  <a:lnTo>
                    <a:pt x="1844" y="262"/>
                  </a:lnTo>
                  <a:lnTo>
                    <a:pt x="1844" y="262"/>
                  </a:lnTo>
                  <a:lnTo>
                    <a:pt x="1856" y="262"/>
                  </a:lnTo>
                  <a:lnTo>
                    <a:pt x="1856" y="262"/>
                  </a:lnTo>
                  <a:lnTo>
                    <a:pt x="1880" y="262"/>
                  </a:lnTo>
                  <a:lnTo>
                    <a:pt x="1880" y="262"/>
                  </a:lnTo>
                  <a:lnTo>
                    <a:pt x="1892" y="262"/>
                  </a:lnTo>
                  <a:lnTo>
                    <a:pt x="1892" y="262"/>
                  </a:lnTo>
                  <a:lnTo>
                    <a:pt x="1939" y="262"/>
                  </a:lnTo>
                  <a:lnTo>
                    <a:pt x="1939" y="262"/>
                  </a:lnTo>
                  <a:lnTo>
                    <a:pt x="1951" y="262"/>
                  </a:lnTo>
                  <a:lnTo>
                    <a:pt x="1951" y="262"/>
                  </a:lnTo>
                  <a:lnTo>
                    <a:pt x="1974" y="262"/>
                  </a:lnTo>
                  <a:lnTo>
                    <a:pt x="1974" y="262"/>
                  </a:lnTo>
                  <a:lnTo>
                    <a:pt x="1986" y="262"/>
                  </a:lnTo>
                  <a:lnTo>
                    <a:pt x="1986" y="262"/>
                  </a:lnTo>
                  <a:lnTo>
                    <a:pt x="2012" y="262"/>
                  </a:lnTo>
                  <a:lnTo>
                    <a:pt x="2012" y="262"/>
                  </a:lnTo>
                  <a:lnTo>
                    <a:pt x="2024" y="262"/>
                  </a:lnTo>
                  <a:lnTo>
                    <a:pt x="2024" y="262"/>
                  </a:lnTo>
                  <a:lnTo>
                    <a:pt x="2047" y="262"/>
                  </a:lnTo>
                  <a:lnTo>
                    <a:pt x="2047" y="262"/>
                  </a:lnTo>
                  <a:lnTo>
                    <a:pt x="2059" y="262"/>
                  </a:lnTo>
                  <a:lnTo>
                    <a:pt x="2059" y="262"/>
                  </a:lnTo>
                  <a:lnTo>
                    <a:pt x="2082" y="262"/>
                  </a:lnTo>
                  <a:lnTo>
                    <a:pt x="2082" y="262"/>
                  </a:lnTo>
                  <a:lnTo>
                    <a:pt x="2094" y="262"/>
                  </a:lnTo>
                  <a:lnTo>
                    <a:pt x="2094" y="262"/>
                  </a:lnTo>
                  <a:lnTo>
                    <a:pt x="2118" y="262"/>
                  </a:lnTo>
                  <a:lnTo>
                    <a:pt x="2118" y="262"/>
                  </a:lnTo>
                  <a:lnTo>
                    <a:pt x="2130" y="262"/>
                  </a:lnTo>
                  <a:lnTo>
                    <a:pt x="2130" y="262"/>
                  </a:lnTo>
                  <a:lnTo>
                    <a:pt x="2153" y="262"/>
                  </a:lnTo>
                  <a:lnTo>
                    <a:pt x="2153" y="262"/>
                  </a:lnTo>
                  <a:lnTo>
                    <a:pt x="2165" y="262"/>
                  </a:lnTo>
                  <a:lnTo>
                    <a:pt x="2165" y="262"/>
                  </a:lnTo>
                  <a:lnTo>
                    <a:pt x="2188" y="262"/>
                  </a:lnTo>
                  <a:lnTo>
                    <a:pt x="2188" y="262"/>
                  </a:lnTo>
                  <a:lnTo>
                    <a:pt x="2200" y="262"/>
                  </a:lnTo>
                  <a:lnTo>
                    <a:pt x="2200" y="262"/>
                  </a:lnTo>
                  <a:lnTo>
                    <a:pt x="2224" y="262"/>
                  </a:lnTo>
                  <a:lnTo>
                    <a:pt x="2224" y="262"/>
                  </a:lnTo>
                  <a:lnTo>
                    <a:pt x="2250" y="262"/>
                  </a:lnTo>
                  <a:lnTo>
                    <a:pt x="2250" y="262"/>
                  </a:lnTo>
                  <a:lnTo>
                    <a:pt x="2297" y="262"/>
                  </a:lnTo>
                  <a:lnTo>
                    <a:pt x="2297" y="262"/>
                  </a:lnTo>
                  <a:lnTo>
                    <a:pt x="2320" y="262"/>
                  </a:lnTo>
                  <a:lnTo>
                    <a:pt x="2320" y="262"/>
                  </a:lnTo>
                  <a:lnTo>
                    <a:pt x="2344" y="262"/>
                  </a:lnTo>
                  <a:lnTo>
                    <a:pt x="2344" y="262"/>
                  </a:lnTo>
                  <a:lnTo>
                    <a:pt x="2344" y="250"/>
                  </a:lnTo>
                  <a:lnTo>
                    <a:pt x="2344" y="250"/>
                  </a:lnTo>
                  <a:lnTo>
                    <a:pt x="2344" y="238"/>
                  </a:lnTo>
                  <a:lnTo>
                    <a:pt x="2344" y="238"/>
                  </a:lnTo>
                  <a:lnTo>
                    <a:pt x="2344" y="227"/>
                  </a:lnTo>
                  <a:lnTo>
                    <a:pt x="2344" y="227"/>
                  </a:lnTo>
                  <a:lnTo>
                    <a:pt x="2344" y="201"/>
                  </a:lnTo>
                  <a:lnTo>
                    <a:pt x="2344" y="201"/>
                  </a:lnTo>
                  <a:lnTo>
                    <a:pt x="2320" y="201"/>
                  </a:lnTo>
                  <a:lnTo>
                    <a:pt x="2320" y="201"/>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29"/>
            <p:cNvSpPr>
              <a:spLocks/>
            </p:cNvSpPr>
            <p:nvPr/>
          </p:nvSpPr>
          <p:spPr bwMode="auto">
            <a:xfrm>
              <a:off x="947738" y="3194420"/>
              <a:ext cx="3700462" cy="602088"/>
            </a:xfrm>
            <a:custGeom>
              <a:avLst/>
              <a:gdLst>
                <a:gd name="T0" fmla="*/ 2260 w 2331"/>
                <a:gd name="T1" fmla="*/ 262 h 476"/>
                <a:gd name="T2" fmla="*/ 2236 w 2331"/>
                <a:gd name="T3" fmla="*/ 273 h 476"/>
                <a:gd name="T4" fmla="*/ 2177 w 2331"/>
                <a:gd name="T5" fmla="*/ 273 h 476"/>
                <a:gd name="T6" fmla="*/ 2135 w 2331"/>
                <a:gd name="T7" fmla="*/ 238 h 476"/>
                <a:gd name="T8" fmla="*/ 2104 w 2331"/>
                <a:gd name="T9" fmla="*/ 285 h 476"/>
                <a:gd name="T10" fmla="*/ 2076 w 2331"/>
                <a:gd name="T11" fmla="*/ 285 h 476"/>
                <a:gd name="T12" fmla="*/ 2053 w 2331"/>
                <a:gd name="T13" fmla="*/ 297 h 476"/>
                <a:gd name="T14" fmla="*/ 1998 w 2331"/>
                <a:gd name="T15" fmla="*/ 320 h 476"/>
                <a:gd name="T16" fmla="*/ 1951 w 2331"/>
                <a:gd name="T17" fmla="*/ 179 h 476"/>
                <a:gd name="T18" fmla="*/ 1904 w 2331"/>
                <a:gd name="T19" fmla="*/ 153 h 476"/>
                <a:gd name="T20" fmla="*/ 1796 w 2331"/>
                <a:gd name="T21" fmla="*/ 262 h 476"/>
                <a:gd name="T22" fmla="*/ 1737 w 2331"/>
                <a:gd name="T23" fmla="*/ 285 h 476"/>
                <a:gd name="T24" fmla="*/ 1702 w 2331"/>
                <a:gd name="T25" fmla="*/ 262 h 476"/>
                <a:gd name="T26" fmla="*/ 1654 w 2331"/>
                <a:gd name="T27" fmla="*/ 231 h 476"/>
                <a:gd name="T28" fmla="*/ 1628 w 2331"/>
                <a:gd name="T29" fmla="*/ 273 h 476"/>
                <a:gd name="T30" fmla="*/ 1581 w 2331"/>
                <a:gd name="T31" fmla="*/ 250 h 476"/>
                <a:gd name="T32" fmla="*/ 1570 w 2331"/>
                <a:gd name="T33" fmla="*/ 141 h 476"/>
                <a:gd name="T34" fmla="*/ 1534 w 2331"/>
                <a:gd name="T35" fmla="*/ 141 h 476"/>
                <a:gd name="T36" fmla="*/ 1499 w 2331"/>
                <a:gd name="T37" fmla="*/ 184 h 476"/>
                <a:gd name="T38" fmla="*/ 1475 w 2331"/>
                <a:gd name="T39" fmla="*/ 285 h 476"/>
                <a:gd name="T40" fmla="*/ 1428 w 2331"/>
                <a:gd name="T41" fmla="*/ 297 h 476"/>
                <a:gd name="T42" fmla="*/ 1428 w 2331"/>
                <a:gd name="T43" fmla="*/ 118 h 476"/>
                <a:gd name="T44" fmla="*/ 1355 w 2331"/>
                <a:gd name="T45" fmla="*/ 106 h 476"/>
                <a:gd name="T46" fmla="*/ 1343 w 2331"/>
                <a:gd name="T47" fmla="*/ 214 h 476"/>
                <a:gd name="T48" fmla="*/ 1320 w 2331"/>
                <a:gd name="T49" fmla="*/ 309 h 476"/>
                <a:gd name="T50" fmla="*/ 1296 w 2331"/>
                <a:gd name="T51" fmla="*/ 356 h 476"/>
                <a:gd name="T52" fmla="*/ 1280 w 2331"/>
                <a:gd name="T53" fmla="*/ 297 h 476"/>
                <a:gd name="T54" fmla="*/ 1237 w 2331"/>
                <a:gd name="T55" fmla="*/ 273 h 476"/>
                <a:gd name="T56" fmla="*/ 1195 w 2331"/>
                <a:gd name="T57" fmla="*/ 297 h 476"/>
                <a:gd name="T58" fmla="*/ 1171 w 2331"/>
                <a:gd name="T59" fmla="*/ 344 h 476"/>
                <a:gd name="T60" fmla="*/ 1141 w 2331"/>
                <a:gd name="T61" fmla="*/ 297 h 476"/>
                <a:gd name="T62" fmla="*/ 1105 w 2331"/>
                <a:gd name="T63" fmla="*/ 273 h 476"/>
                <a:gd name="T64" fmla="*/ 952 w 2331"/>
                <a:gd name="T65" fmla="*/ 344 h 476"/>
                <a:gd name="T66" fmla="*/ 903 w 2331"/>
                <a:gd name="T67" fmla="*/ 262 h 476"/>
                <a:gd name="T68" fmla="*/ 856 w 2331"/>
                <a:gd name="T69" fmla="*/ 59 h 476"/>
                <a:gd name="T70" fmla="*/ 750 w 2331"/>
                <a:gd name="T71" fmla="*/ 35 h 476"/>
                <a:gd name="T72" fmla="*/ 738 w 2331"/>
                <a:gd name="T73" fmla="*/ 141 h 476"/>
                <a:gd name="T74" fmla="*/ 726 w 2331"/>
                <a:gd name="T75" fmla="*/ 278 h 476"/>
                <a:gd name="T76" fmla="*/ 667 w 2331"/>
                <a:gd name="T77" fmla="*/ 273 h 476"/>
                <a:gd name="T78" fmla="*/ 618 w 2331"/>
                <a:gd name="T79" fmla="*/ 297 h 476"/>
                <a:gd name="T80" fmla="*/ 559 w 2331"/>
                <a:gd name="T81" fmla="*/ 320 h 476"/>
                <a:gd name="T82" fmla="*/ 523 w 2331"/>
                <a:gd name="T83" fmla="*/ 344 h 476"/>
                <a:gd name="T84" fmla="*/ 429 w 2331"/>
                <a:gd name="T85" fmla="*/ 339 h 476"/>
                <a:gd name="T86" fmla="*/ 380 w 2331"/>
                <a:gd name="T87" fmla="*/ 356 h 476"/>
                <a:gd name="T88" fmla="*/ 250 w 2331"/>
                <a:gd name="T89" fmla="*/ 356 h 476"/>
                <a:gd name="T90" fmla="*/ 179 w 2331"/>
                <a:gd name="T91" fmla="*/ 356 h 476"/>
                <a:gd name="T92" fmla="*/ 0 w 2331"/>
                <a:gd name="T93" fmla="*/ 415 h 476"/>
                <a:gd name="T94" fmla="*/ 142 w 2331"/>
                <a:gd name="T95" fmla="*/ 476 h 476"/>
                <a:gd name="T96" fmla="*/ 309 w 2331"/>
                <a:gd name="T97" fmla="*/ 476 h 476"/>
                <a:gd name="T98" fmla="*/ 488 w 2331"/>
                <a:gd name="T99" fmla="*/ 476 h 476"/>
                <a:gd name="T100" fmla="*/ 653 w 2331"/>
                <a:gd name="T101" fmla="*/ 476 h 476"/>
                <a:gd name="T102" fmla="*/ 832 w 2331"/>
                <a:gd name="T103" fmla="*/ 476 h 476"/>
                <a:gd name="T104" fmla="*/ 1023 w 2331"/>
                <a:gd name="T105" fmla="*/ 476 h 476"/>
                <a:gd name="T106" fmla="*/ 1178 w 2331"/>
                <a:gd name="T107" fmla="*/ 476 h 476"/>
                <a:gd name="T108" fmla="*/ 1367 w 2331"/>
                <a:gd name="T109" fmla="*/ 476 h 476"/>
                <a:gd name="T110" fmla="*/ 1546 w 2331"/>
                <a:gd name="T111" fmla="*/ 476 h 476"/>
                <a:gd name="T112" fmla="*/ 1713 w 2331"/>
                <a:gd name="T113" fmla="*/ 476 h 476"/>
                <a:gd name="T114" fmla="*/ 1892 w 2331"/>
                <a:gd name="T115" fmla="*/ 476 h 476"/>
                <a:gd name="T116" fmla="*/ 2081 w 2331"/>
                <a:gd name="T117" fmla="*/ 476 h 476"/>
                <a:gd name="T118" fmla="*/ 2236 w 2331"/>
                <a:gd name="T119"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31" h="476">
                  <a:moveTo>
                    <a:pt x="2331" y="226"/>
                  </a:moveTo>
                  <a:lnTo>
                    <a:pt x="2331" y="226"/>
                  </a:lnTo>
                  <a:lnTo>
                    <a:pt x="2295" y="226"/>
                  </a:lnTo>
                  <a:lnTo>
                    <a:pt x="2295" y="226"/>
                  </a:lnTo>
                  <a:lnTo>
                    <a:pt x="2283" y="226"/>
                  </a:lnTo>
                  <a:lnTo>
                    <a:pt x="2283" y="226"/>
                  </a:lnTo>
                  <a:lnTo>
                    <a:pt x="2272" y="226"/>
                  </a:lnTo>
                  <a:lnTo>
                    <a:pt x="2272" y="226"/>
                  </a:lnTo>
                  <a:lnTo>
                    <a:pt x="2272" y="231"/>
                  </a:lnTo>
                  <a:lnTo>
                    <a:pt x="2272" y="238"/>
                  </a:lnTo>
                  <a:lnTo>
                    <a:pt x="2272" y="238"/>
                  </a:lnTo>
                  <a:lnTo>
                    <a:pt x="2267" y="238"/>
                  </a:lnTo>
                  <a:lnTo>
                    <a:pt x="2262" y="236"/>
                  </a:lnTo>
                  <a:lnTo>
                    <a:pt x="2260" y="238"/>
                  </a:lnTo>
                  <a:lnTo>
                    <a:pt x="2260" y="238"/>
                  </a:lnTo>
                  <a:lnTo>
                    <a:pt x="2260" y="250"/>
                  </a:lnTo>
                  <a:lnTo>
                    <a:pt x="2260" y="250"/>
                  </a:lnTo>
                  <a:lnTo>
                    <a:pt x="2260" y="262"/>
                  </a:lnTo>
                  <a:lnTo>
                    <a:pt x="2260" y="262"/>
                  </a:lnTo>
                  <a:lnTo>
                    <a:pt x="2260" y="273"/>
                  </a:lnTo>
                  <a:lnTo>
                    <a:pt x="2260" y="273"/>
                  </a:lnTo>
                  <a:lnTo>
                    <a:pt x="2260" y="297"/>
                  </a:lnTo>
                  <a:lnTo>
                    <a:pt x="2260" y="297"/>
                  </a:lnTo>
                  <a:lnTo>
                    <a:pt x="2260" y="344"/>
                  </a:lnTo>
                  <a:lnTo>
                    <a:pt x="2260" y="344"/>
                  </a:lnTo>
                  <a:lnTo>
                    <a:pt x="2248" y="344"/>
                  </a:lnTo>
                  <a:lnTo>
                    <a:pt x="2248" y="344"/>
                  </a:lnTo>
                  <a:lnTo>
                    <a:pt x="2241" y="344"/>
                  </a:lnTo>
                  <a:lnTo>
                    <a:pt x="2236" y="344"/>
                  </a:lnTo>
                  <a:lnTo>
                    <a:pt x="2236" y="344"/>
                  </a:lnTo>
                  <a:lnTo>
                    <a:pt x="2236" y="332"/>
                  </a:lnTo>
                  <a:lnTo>
                    <a:pt x="2236" y="332"/>
                  </a:lnTo>
                  <a:lnTo>
                    <a:pt x="2236" y="320"/>
                  </a:lnTo>
                  <a:lnTo>
                    <a:pt x="2236" y="320"/>
                  </a:lnTo>
                  <a:lnTo>
                    <a:pt x="2236" y="273"/>
                  </a:lnTo>
                  <a:lnTo>
                    <a:pt x="2236" y="273"/>
                  </a:lnTo>
                  <a:lnTo>
                    <a:pt x="2225" y="273"/>
                  </a:lnTo>
                  <a:lnTo>
                    <a:pt x="2225" y="273"/>
                  </a:lnTo>
                  <a:lnTo>
                    <a:pt x="2213" y="273"/>
                  </a:lnTo>
                  <a:lnTo>
                    <a:pt x="2213" y="273"/>
                  </a:lnTo>
                  <a:lnTo>
                    <a:pt x="2201" y="273"/>
                  </a:lnTo>
                  <a:lnTo>
                    <a:pt x="2201" y="273"/>
                  </a:lnTo>
                  <a:lnTo>
                    <a:pt x="2194" y="273"/>
                  </a:lnTo>
                  <a:lnTo>
                    <a:pt x="2189" y="273"/>
                  </a:lnTo>
                  <a:lnTo>
                    <a:pt x="2189" y="273"/>
                  </a:lnTo>
                  <a:lnTo>
                    <a:pt x="2189" y="278"/>
                  </a:lnTo>
                  <a:lnTo>
                    <a:pt x="2189" y="285"/>
                  </a:lnTo>
                  <a:lnTo>
                    <a:pt x="2189" y="285"/>
                  </a:lnTo>
                  <a:lnTo>
                    <a:pt x="2187" y="285"/>
                  </a:lnTo>
                  <a:lnTo>
                    <a:pt x="2182" y="285"/>
                  </a:lnTo>
                  <a:lnTo>
                    <a:pt x="2177" y="285"/>
                  </a:lnTo>
                  <a:lnTo>
                    <a:pt x="2177" y="285"/>
                  </a:lnTo>
                  <a:lnTo>
                    <a:pt x="2177" y="273"/>
                  </a:lnTo>
                  <a:lnTo>
                    <a:pt x="2177" y="273"/>
                  </a:lnTo>
                  <a:lnTo>
                    <a:pt x="2177" y="262"/>
                  </a:lnTo>
                  <a:lnTo>
                    <a:pt x="2177" y="262"/>
                  </a:lnTo>
                  <a:lnTo>
                    <a:pt x="2177" y="255"/>
                  </a:lnTo>
                  <a:lnTo>
                    <a:pt x="2177" y="250"/>
                  </a:lnTo>
                  <a:lnTo>
                    <a:pt x="2177" y="250"/>
                  </a:lnTo>
                  <a:lnTo>
                    <a:pt x="2170" y="250"/>
                  </a:lnTo>
                  <a:lnTo>
                    <a:pt x="2166" y="250"/>
                  </a:lnTo>
                  <a:lnTo>
                    <a:pt x="2166" y="250"/>
                  </a:lnTo>
                  <a:lnTo>
                    <a:pt x="2166" y="243"/>
                  </a:lnTo>
                  <a:lnTo>
                    <a:pt x="2166" y="238"/>
                  </a:lnTo>
                  <a:lnTo>
                    <a:pt x="2166" y="238"/>
                  </a:lnTo>
                  <a:lnTo>
                    <a:pt x="2163" y="236"/>
                  </a:lnTo>
                  <a:lnTo>
                    <a:pt x="2159" y="238"/>
                  </a:lnTo>
                  <a:lnTo>
                    <a:pt x="2154" y="238"/>
                  </a:lnTo>
                  <a:lnTo>
                    <a:pt x="2154" y="238"/>
                  </a:lnTo>
                  <a:lnTo>
                    <a:pt x="2142" y="238"/>
                  </a:lnTo>
                  <a:lnTo>
                    <a:pt x="2142" y="238"/>
                  </a:lnTo>
                  <a:lnTo>
                    <a:pt x="2135" y="238"/>
                  </a:lnTo>
                  <a:lnTo>
                    <a:pt x="2130" y="238"/>
                  </a:lnTo>
                  <a:lnTo>
                    <a:pt x="2130" y="238"/>
                  </a:lnTo>
                  <a:lnTo>
                    <a:pt x="2128" y="240"/>
                  </a:lnTo>
                  <a:lnTo>
                    <a:pt x="2128" y="243"/>
                  </a:lnTo>
                  <a:lnTo>
                    <a:pt x="2130" y="250"/>
                  </a:lnTo>
                  <a:lnTo>
                    <a:pt x="2130" y="250"/>
                  </a:lnTo>
                  <a:lnTo>
                    <a:pt x="2116" y="250"/>
                  </a:lnTo>
                  <a:lnTo>
                    <a:pt x="2116" y="250"/>
                  </a:lnTo>
                  <a:lnTo>
                    <a:pt x="2111" y="250"/>
                  </a:lnTo>
                  <a:lnTo>
                    <a:pt x="2104" y="250"/>
                  </a:lnTo>
                  <a:lnTo>
                    <a:pt x="2104" y="250"/>
                  </a:lnTo>
                  <a:lnTo>
                    <a:pt x="2104" y="255"/>
                  </a:lnTo>
                  <a:lnTo>
                    <a:pt x="2104" y="262"/>
                  </a:lnTo>
                  <a:lnTo>
                    <a:pt x="2104" y="262"/>
                  </a:lnTo>
                  <a:lnTo>
                    <a:pt x="2104" y="266"/>
                  </a:lnTo>
                  <a:lnTo>
                    <a:pt x="2104" y="273"/>
                  </a:lnTo>
                  <a:lnTo>
                    <a:pt x="2104" y="273"/>
                  </a:lnTo>
                  <a:lnTo>
                    <a:pt x="2104" y="285"/>
                  </a:lnTo>
                  <a:lnTo>
                    <a:pt x="2104" y="285"/>
                  </a:lnTo>
                  <a:lnTo>
                    <a:pt x="2104" y="309"/>
                  </a:lnTo>
                  <a:lnTo>
                    <a:pt x="2104" y="309"/>
                  </a:lnTo>
                  <a:lnTo>
                    <a:pt x="2100" y="309"/>
                  </a:lnTo>
                  <a:lnTo>
                    <a:pt x="2093" y="309"/>
                  </a:lnTo>
                  <a:lnTo>
                    <a:pt x="2093" y="309"/>
                  </a:lnTo>
                  <a:lnTo>
                    <a:pt x="2093" y="304"/>
                  </a:lnTo>
                  <a:lnTo>
                    <a:pt x="2093" y="297"/>
                  </a:lnTo>
                  <a:lnTo>
                    <a:pt x="2093" y="297"/>
                  </a:lnTo>
                  <a:lnTo>
                    <a:pt x="2088" y="297"/>
                  </a:lnTo>
                  <a:lnTo>
                    <a:pt x="2081" y="297"/>
                  </a:lnTo>
                  <a:lnTo>
                    <a:pt x="2081" y="297"/>
                  </a:lnTo>
                  <a:lnTo>
                    <a:pt x="2081" y="295"/>
                  </a:lnTo>
                  <a:lnTo>
                    <a:pt x="2081" y="292"/>
                  </a:lnTo>
                  <a:lnTo>
                    <a:pt x="2081" y="285"/>
                  </a:lnTo>
                  <a:lnTo>
                    <a:pt x="2081" y="285"/>
                  </a:lnTo>
                  <a:lnTo>
                    <a:pt x="2078" y="285"/>
                  </a:lnTo>
                  <a:lnTo>
                    <a:pt x="2076" y="285"/>
                  </a:lnTo>
                  <a:lnTo>
                    <a:pt x="2069" y="285"/>
                  </a:lnTo>
                  <a:lnTo>
                    <a:pt x="2069" y="285"/>
                  </a:lnTo>
                  <a:lnTo>
                    <a:pt x="2069" y="283"/>
                  </a:lnTo>
                  <a:lnTo>
                    <a:pt x="2069" y="278"/>
                  </a:lnTo>
                  <a:lnTo>
                    <a:pt x="2069" y="273"/>
                  </a:lnTo>
                  <a:lnTo>
                    <a:pt x="2069" y="273"/>
                  </a:lnTo>
                  <a:lnTo>
                    <a:pt x="2069" y="266"/>
                  </a:lnTo>
                  <a:lnTo>
                    <a:pt x="2071" y="264"/>
                  </a:lnTo>
                  <a:lnTo>
                    <a:pt x="2069" y="262"/>
                  </a:lnTo>
                  <a:lnTo>
                    <a:pt x="2069" y="262"/>
                  </a:lnTo>
                  <a:lnTo>
                    <a:pt x="2057" y="262"/>
                  </a:lnTo>
                  <a:lnTo>
                    <a:pt x="2057" y="262"/>
                  </a:lnTo>
                  <a:lnTo>
                    <a:pt x="2057" y="266"/>
                  </a:lnTo>
                  <a:lnTo>
                    <a:pt x="2057" y="273"/>
                  </a:lnTo>
                  <a:lnTo>
                    <a:pt x="2057" y="273"/>
                  </a:lnTo>
                  <a:lnTo>
                    <a:pt x="2057" y="297"/>
                  </a:lnTo>
                  <a:lnTo>
                    <a:pt x="2057" y="297"/>
                  </a:lnTo>
                  <a:lnTo>
                    <a:pt x="2053" y="297"/>
                  </a:lnTo>
                  <a:lnTo>
                    <a:pt x="2048" y="297"/>
                  </a:lnTo>
                  <a:lnTo>
                    <a:pt x="2046" y="297"/>
                  </a:lnTo>
                  <a:lnTo>
                    <a:pt x="2046" y="297"/>
                  </a:lnTo>
                  <a:lnTo>
                    <a:pt x="2046" y="304"/>
                  </a:lnTo>
                  <a:lnTo>
                    <a:pt x="2046" y="309"/>
                  </a:lnTo>
                  <a:lnTo>
                    <a:pt x="2046" y="309"/>
                  </a:lnTo>
                  <a:lnTo>
                    <a:pt x="2041" y="309"/>
                  </a:lnTo>
                  <a:lnTo>
                    <a:pt x="2034" y="309"/>
                  </a:lnTo>
                  <a:lnTo>
                    <a:pt x="2034" y="309"/>
                  </a:lnTo>
                  <a:lnTo>
                    <a:pt x="2027" y="309"/>
                  </a:lnTo>
                  <a:lnTo>
                    <a:pt x="2022" y="309"/>
                  </a:lnTo>
                  <a:lnTo>
                    <a:pt x="2022" y="309"/>
                  </a:lnTo>
                  <a:lnTo>
                    <a:pt x="2022" y="311"/>
                  </a:lnTo>
                  <a:lnTo>
                    <a:pt x="2022" y="316"/>
                  </a:lnTo>
                  <a:lnTo>
                    <a:pt x="2022" y="320"/>
                  </a:lnTo>
                  <a:lnTo>
                    <a:pt x="2022" y="320"/>
                  </a:lnTo>
                  <a:lnTo>
                    <a:pt x="1998" y="320"/>
                  </a:lnTo>
                  <a:lnTo>
                    <a:pt x="1998" y="320"/>
                  </a:lnTo>
                  <a:lnTo>
                    <a:pt x="1951" y="320"/>
                  </a:lnTo>
                  <a:lnTo>
                    <a:pt x="1951" y="320"/>
                  </a:lnTo>
                  <a:lnTo>
                    <a:pt x="1951" y="309"/>
                  </a:lnTo>
                  <a:lnTo>
                    <a:pt x="1951" y="309"/>
                  </a:lnTo>
                  <a:lnTo>
                    <a:pt x="1951" y="285"/>
                  </a:lnTo>
                  <a:lnTo>
                    <a:pt x="1951" y="285"/>
                  </a:lnTo>
                  <a:lnTo>
                    <a:pt x="1951" y="273"/>
                  </a:lnTo>
                  <a:lnTo>
                    <a:pt x="1951" y="273"/>
                  </a:lnTo>
                  <a:lnTo>
                    <a:pt x="1951" y="250"/>
                  </a:lnTo>
                  <a:lnTo>
                    <a:pt x="1951" y="250"/>
                  </a:lnTo>
                  <a:lnTo>
                    <a:pt x="1951" y="238"/>
                  </a:lnTo>
                  <a:lnTo>
                    <a:pt x="1951" y="238"/>
                  </a:lnTo>
                  <a:lnTo>
                    <a:pt x="1951" y="214"/>
                  </a:lnTo>
                  <a:lnTo>
                    <a:pt x="1951" y="214"/>
                  </a:lnTo>
                  <a:lnTo>
                    <a:pt x="1951" y="203"/>
                  </a:lnTo>
                  <a:lnTo>
                    <a:pt x="1951" y="203"/>
                  </a:lnTo>
                  <a:lnTo>
                    <a:pt x="1951" y="179"/>
                  </a:lnTo>
                  <a:lnTo>
                    <a:pt x="1951" y="179"/>
                  </a:lnTo>
                  <a:lnTo>
                    <a:pt x="1951" y="153"/>
                  </a:lnTo>
                  <a:lnTo>
                    <a:pt x="1951" y="153"/>
                  </a:lnTo>
                  <a:lnTo>
                    <a:pt x="1944" y="153"/>
                  </a:lnTo>
                  <a:lnTo>
                    <a:pt x="1942" y="156"/>
                  </a:lnTo>
                  <a:lnTo>
                    <a:pt x="1939" y="153"/>
                  </a:lnTo>
                  <a:lnTo>
                    <a:pt x="1939" y="153"/>
                  </a:lnTo>
                  <a:lnTo>
                    <a:pt x="1939" y="148"/>
                  </a:lnTo>
                  <a:lnTo>
                    <a:pt x="1939" y="141"/>
                  </a:lnTo>
                  <a:lnTo>
                    <a:pt x="1939" y="141"/>
                  </a:lnTo>
                  <a:lnTo>
                    <a:pt x="1932" y="141"/>
                  </a:lnTo>
                  <a:lnTo>
                    <a:pt x="1928" y="141"/>
                  </a:lnTo>
                  <a:lnTo>
                    <a:pt x="1928" y="141"/>
                  </a:lnTo>
                  <a:lnTo>
                    <a:pt x="1916" y="141"/>
                  </a:lnTo>
                  <a:lnTo>
                    <a:pt x="1916" y="141"/>
                  </a:lnTo>
                  <a:lnTo>
                    <a:pt x="1904" y="141"/>
                  </a:lnTo>
                  <a:lnTo>
                    <a:pt x="1904" y="141"/>
                  </a:lnTo>
                  <a:lnTo>
                    <a:pt x="1904" y="148"/>
                  </a:lnTo>
                  <a:lnTo>
                    <a:pt x="1904" y="153"/>
                  </a:lnTo>
                  <a:lnTo>
                    <a:pt x="1904" y="153"/>
                  </a:lnTo>
                  <a:lnTo>
                    <a:pt x="1892" y="153"/>
                  </a:lnTo>
                  <a:lnTo>
                    <a:pt x="1892" y="153"/>
                  </a:lnTo>
                  <a:lnTo>
                    <a:pt x="1878" y="153"/>
                  </a:lnTo>
                  <a:lnTo>
                    <a:pt x="1878" y="153"/>
                  </a:lnTo>
                  <a:lnTo>
                    <a:pt x="1866" y="153"/>
                  </a:lnTo>
                  <a:lnTo>
                    <a:pt x="1866" y="153"/>
                  </a:lnTo>
                  <a:lnTo>
                    <a:pt x="1843" y="153"/>
                  </a:lnTo>
                  <a:lnTo>
                    <a:pt x="1843" y="153"/>
                  </a:lnTo>
                  <a:lnTo>
                    <a:pt x="1796" y="153"/>
                  </a:lnTo>
                  <a:lnTo>
                    <a:pt x="1796" y="153"/>
                  </a:lnTo>
                  <a:lnTo>
                    <a:pt x="1796" y="165"/>
                  </a:lnTo>
                  <a:lnTo>
                    <a:pt x="1796" y="165"/>
                  </a:lnTo>
                  <a:lnTo>
                    <a:pt x="1796" y="191"/>
                  </a:lnTo>
                  <a:lnTo>
                    <a:pt x="1796" y="191"/>
                  </a:lnTo>
                  <a:lnTo>
                    <a:pt x="1796" y="238"/>
                  </a:lnTo>
                  <a:lnTo>
                    <a:pt x="1796" y="238"/>
                  </a:lnTo>
                  <a:lnTo>
                    <a:pt x="1796" y="262"/>
                  </a:lnTo>
                  <a:lnTo>
                    <a:pt x="1796" y="262"/>
                  </a:lnTo>
                  <a:lnTo>
                    <a:pt x="1796" y="273"/>
                  </a:lnTo>
                  <a:lnTo>
                    <a:pt x="1796" y="273"/>
                  </a:lnTo>
                  <a:lnTo>
                    <a:pt x="1796" y="297"/>
                  </a:lnTo>
                  <a:lnTo>
                    <a:pt x="1796" y="297"/>
                  </a:lnTo>
                  <a:lnTo>
                    <a:pt x="1784" y="297"/>
                  </a:lnTo>
                  <a:lnTo>
                    <a:pt x="1784" y="297"/>
                  </a:lnTo>
                  <a:lnTo>
                    <a:pt x="1760" y="297"/>
                  </a:lnTo>
                  <a:lnTo>
                    <a:pt x="1760" y="297"/>
                  </a:lnTo>
                  <a:lnTo>
                    <a:pt x="1760" y="290"/>
                  </a:lnTo>
                  <a:lnTo>
                    <a:pt x="1760" y="287"/>
                  </a:lnTo>
                  <a:lnTo>
                    <a:pt x="1760" y="285"/>
                  </a:lnTo>
                  <a:lnTo>
                    <a:pt x="1760" y="285"/>
                  </a:lnTo>
                  <a:lnTo>
                    <a:pt x="1756" y="285"/>
                  </a:lnTo>
                  <a:lnTo>
                    <a:pt x="1749" y="285"/>
                  </a:lnTo>
                  <a:lnTo>
                    <a:pt x="1749" y="285"/>
                  </a:lnTo>
                  <a:lnTo>
                    <a:pt x="1737" y="285"/>
                  </a:lnTo>
                  <a:lnTo>
                    <a:pt x="1737" y="285"/>
                  </a:lnTo>
                  <a:lnTo>
                    <a:pt x="1725" y="285"/>
                  </a:lnTo>
                  <a:lnTo>
                    <a:pt x="1725" y="285"/>
                  </a:lnTo>
                  <a:lnTo>
                    <a:pt x="1725" y="278"/>
                  </a:lnTo>
                  <a:lnTo>
                    <a:pt x="1725" y="276"/>
                  </a:lnTo>
                  <a:lnTo>
                    <a:pt x="1725" y="273"/>
                  </a:lnTo>
                  <a:lnTo>
                    <a:pt x="1725" y="273"/>
                  </a:lnTo>
                  <a:lnTo>
                    <a:pt x="1723" y="273"/>
                  </a:lnTo>
                  <a:lnTo>
                    <a:pt x="1718" y="273"/>
                  </a:lnTo>
                  <a:lnTo>
                    <a:pt x="1713" y="273"/>
                  </a:lnTo>
                  <a:lnTo>
                    <a:pt x="1713" y="273"/>
                  </a:lnTo>
                  <a:lnTo>
                    <a:pt x="1706" y="273"/>
                  </a:lnTo>
                  <a:lnTo>
                    <a:pt x="1704" y="273"/>
                  </a:lnTo>
                  <a:lnTo>
                    <a:pt x="1702" y="273"/>
                  </a:lnTo>
                  <a:lnTo>
                    <a:pt x="1702" y="273"/>
                  </a:lnTo>
                  <a:lnTo>
                    <a:pt x="1699" y="271"/>
                  </a:lnTo>
                  <a:lnTo>
                    <a:pt x="1702" y="266"/>
                  </a:lnTo>
                  <a:lnTo>
                    <a:pt x="1702" y="262"/>
                  </a:lnTo>
                  <a:lnTo>
                    <a:pt x="1702" y="262"/>
                  </a:lnTo>
                  <a:lnTo>
                    <a:pt x="1702" y="255"/>
                  </a:lnTo>
                  <a:lnTo>
                    <a:pt x="1702" y="250"/>
                  </a:lnTo>
                  <a:lnTo>
                    <a:pt x="1702" y="250"/>
                  </a:lnTo>
                  <a:lnTo>
                    <a:pt x="1702" y="243"/>
                  </a:lnTo>
                  <a:lnTo>
                    <a:pt x="1702" y="238"/>
                  </a:lnTo>
                  <a:lnTo>
                    <a:pt x="1702" y="238"/>
                  </a:lnTo>
                  <a:lnTo>
                    <a:pt x="1690" y="238"/>
                  </a:lnTo>
                  <a:lnTo>
                    <a:pt x="1690" y="238"/>
                  </a:lnTo>
                  <a:lnTo>
                    <a:pt x="1683" y="238"/>
                  </a:lnTo>
                  <a:lnTo>
                    <a:pt x="1678" y="238"/>
                  </a:lnTo>
                  <a:lnTo>
                    <a:pt x="1678" y="238"/>
                  </a:lnTo>
                  <a:lnTo>
                    <a:pt x="1676" y="236"/>
                  </a:lnTo>
                  <a:lnTo>
                    <a:pt x="1678" y="231"/>
                  </a:lnTo>
                  <a:lnTo>
                    <a:pt x="1678" y="226"/>
                  </a:lnTo>
                  <a:lnTo>
                    <a:pt x="1678" y="226"/>
                  </a:lnTo>
                  <a:lnTo>
                    <a:pt x="1654" y="226"/>
                  </a:lnTo>
                  <a:lnTo>
                    <a:pt x="1654" y="226"/>
                  </a:lnTo>
                  <a:lnTo>
                    <a:pt x="1654" y="231"/>
                  </a:lnTo>
                  <a:lnTo>
                    <a:pt x="1654" y="236"/>
                  </a:lnTo>
                  <a:lnTo>
                    <a:pt x="1654" y="238"/>
                  </a:lnTo>
                  <a:lnTo>
                    <a:pt x="1654" y="238"/>
                  </a:lnTo>
                  <a:lnTo>
                    <a:pt x="1652" y="238"/>
                  </a:lnTo>
                  <a:lnTo>
                    <a:pt x="1647" y="238"/>
                  </a:lnTo>
                  <a:lnTo>
                    <a:pt x="1643" y="238"/>
                  </a:lnTo>
                  <a:lnTo>
                    <a:pt x="1643" y="238"/>
                  </a:lnTo>
                  <a:lnTo>
                    <a:pt x="1636" y="238"/>
                  </a:lnTo>
                  <a:lnTo>
                    <a:pt x="1631" y="236"/>
                  </a:lnTo>
                  <a:lnTo>
                    <a:pt x="1628" y="238"/>
                  </a:lnTo>
                  <a:lnTo>
                    <a:pt x="1628" y="238"/>
                  </a:lnTo>
                  <a:lnTo>
                    <a:pt x="1628" y="243"/>
                  </a:lnTo>
                  <a:lnTo>
                    <a:pt x="1628" y="250"/>
                  </a:lnTo>
                  <a:lnTo>
                    <a:pt x="1628" y="250"/>
                  </a:lnTo>
                  <a:lnTo>
                    <a:pt x="1628" y="255"/>
                  </a:lnTo>
                  <a:lnTo>
                    <a:pt x="1628" y="262"/>
                  </a:lnTo>
                  <a:lnTo>
                    <a:pt x="1628" y="262"/>
                  </a:lnTo>
                  <a:lnTo>
                    <a:pt x="1628" y="273"/>
                  </a:lnTo>
                  <a:lnTo>
                    <a:pt x="1628" y="273"/>
                  </a:lnTo>
                  <a:lnTo>
                    <a:pt x="1631" y="280"/>
                  </a:lnTo>
                  <a:lnTo>
                    <a:pt x="1628" y="285"/>
                  </a:lnTo>
                  <a:lnTo>
                    <a:pt x="1628" y="285"/>
                  </a:lnTo>
                  <a:lnTo>
                    <a:pt x="1624" y="285"/>
                  </a:lnTo>
                  <a:lnTo>
                    <a:pt x="1617" y="285"/>
                  </a:lnTo>
                  <a:lnTo>
                    <a:pt x="1617" y="285"/>
                  </a:lnTo>
                  <a:lnTo>
                    <a:pt x="1617" y="278"/>
                  </a:lnTo>
                  <a:lnTo>
                    <a:pt x="1617" y="273"/>
                  </a:lnTo>
                  <a:lnTo>
                    <a:pt x="1617" y="273"/>
                  </a:lnTo>
                  <a:lnTo>
                    <a:pt x="1593" y="273"/>
                  </a:lnTo>
                  <a:lnTo>
                    <a:pt x="1593" y="273"/>
                  </a:lnTo>
                  <a:lnTo>
                    <a:pt x="1588" y="273"/>
                  </a:lnTo>
                  <a:lnTo>
                    <a:pt x="1581" y="273"/>
                  </a:lnTo>
                  <a:lnTo>
                    <a:pt x="1581" y="273"/>
                  </a:lnTo>
                  <a:lnTo>
                    <a:pt x="1581" y="262"/>
                  </a:lnTo>
                  <a:lnTo>
                    <a:pt x="1581" y="262"/>
                  </a:lnTo>
                  <a:lnTo>
                    <a:pt x="1581" y="250"/>
                  </a:lnTo>
                  <a:lnTo>
                    <a:pt x="1581" y="250"/>
                  </a:lnTo>
                  <a:lnTo>
                    <a:pt x="1581" y="238"/>
                  </a:lnTo>
                  <a:lnTo>
                    <a:pt x="1581" y="238"/>
                  </a:lnTo>
                  <a:lnTo>
                    <a:pt x="1581" y="191"/>
                  </a:lnTo>
                  <a:lnTo>
                    <a:pt x="1581" y="191"/>
                  </a:lnTo>
                  <a:lnTo>
                    <a:pt x="1581" y="179"/>
                  </a:lnTo>
                  <a:lnTo>
                    <a:pt x="1581" y="179"/>
                  </a:lnTo>
                  <a:lnTo>
                    <a:pt x="1581" y="172"/>
                  </a:lnTo>
                  <a:lnTo>
                    <a:pt x="1581" y="165"/>
                  </a:lnTo>
                  <a:lnTo>
                    <a:pt x="1581" y="165"/>
                  </a:lnTo>
                  <a:lnTo>
                    <a:pt x="1577" y="165"/>
                  </a:lnTo>
                  <a:lnTo>
                    <a:pt x="1570" y="165"/>
                  </a:lnTo>
                  <a:lnTo>
                    <a:pt x="1570" y="165"/>
                  </a:lnTo>
                  <a:lnTo>
                    <a:pt x="1570" y="153"/>
                  </a:lnTo>
                  <a:lnTo>
                    <a:pt x="1570" y="153"/>
                  </a:lnTo>
                  <a:lnTo>
                    <a:pt x="1570" y="148"/>
                  </a:lnTo>
                  <a:lnTo>
                    <a:pt x="1570" y="141"/>
                  </a:lnTo>
                  <a:lnTo>
                    <a:pt x="1570" y="141"/>
                  </a:lnTo>
                  <a:lnTo>
                    <a:pt x="1565" y="141"/>
                  </a:lnTo>
                  <a:lnTo>
                    <a:pt x="1558" y="141"/>
                  </a:lnTo>
                  <a:lnTo>
                    <a:pt x="1558" y="141"/>
                  </a:lnTo>
                  <a:lnTo>
                    <a:pt x="1558" y="139"/>
                  </a:lnTo>
                  <a:lnTo>
                    <a:pt x="1558" y="137"/>
                  </a:lnTo>
                  <a:lnTo>
                    <a:pt x="1558" y="130"/>
                  </a:lnTo>
                  <a:lnTo>
                    <a:pt x="1558" y="130"/>
                  </a:lnTo>
                  <a:lnTo>
                    <a:pt x="1558" y="106"/>
                  </a:lnTo>
                  <a:lnTo>
                    <a:pt x="1558" y="106"/>
                  </a:lnTo>
                  <a:lnTo>
                    <a:pt x="1534" y="106"/>
                  </a:lnTo>
                  <a:lnTo>
                    <a:pt x="1534" y="106"/>
                  </a:lnTo>
                  <a:lnTo>
                    <a:pt x="1534" y="118"/>
                  </a:lnTo>
                  <a:lnTo>
                    <a:pt x="1534" y="118"/>
                  </a:lnTo>
                  <a:lnTo>
                    <a:pt x="1534" y="130"/>
                  </a:lnTo>
                  <a:lnTo>
                    <a:pt x="1534" y="130"/>
                  </a:lnTo>
                  <a:lnTo>
                    <a:pt x="1534" y="137"/>
                  </a:lnTo>
                  <a:lnTo>
                    <a:pt x="1534" y="141"/>
                  </a:lnTo>
                  <a:lnTo>
                    <a:pt x="1534" y="141"/>
                  </a:lnTo>
                  <a:lnTo>
                    <a:pt x="1527" y="141"/>
                  </a:lnTo>
                  <a:lnTo>
                    <a:pt x="1522" y="141"/>
                  </a:lnTo>
                  <a:lnTo>
                    <a:pt x="1522" y="141"/>
                  </a:lnTo>
                  <a:lnTo>
                    <a:pt x="1522" y="148"/>
                  </a:lnTo>
                  <a:lnTo>
                    <a:pt x="1522" y="153"/>
                  </a:lnTo>
                  <a:lnTo>
                    <a:pt x="1522" y="153"/>
                  </a:lnTo>
                  <a:lnTo>
                    <a:pt x="1515" y="153"/>
                  </a:lnTo>
                  <a:lnTo>
                    <a:pt x="1511" y="153"/>
                  </a:lnTo>
                  <a:lnTo>
                    <a:pt x="1511" y="153"/>
                  </a:lnTo>
                  <a:lnTo>
                    <a:pt x="1511" y="160"/>
                  </a:lnTo>
                  <a:lnTo>
                    <a:pt x="1511" y="165"/>
                  </a:lnTo>
                  <a:lnTo>
                    <a:pt x="1511" y="165"/>
                  </a:lnTo>
                  <a:lnTo>
                    <a:pt x="1511" y="179"/>
                  </a:lnTo>
                  <a:lnTo>
                    <a:pt x="1511" y="179"/>
                  </a:lnTo>
                  <a:lnTo>
                    <a:pt x="1504" y="177"/>
                  </a:lnTo>
                  <a:lnTo>
                    <a:pt x="1499" y="179"/>
                  </a:lnTo>
                  <a:lnTo>
                    <a:pt x="1499" y="179"/>
                  </a:lnTo>
                  <a:lnTo>
                    <a:pt x="1499" y="184"/>
                  </a:lnTo>
                  <a:lnTo>
                    <a:pt x="1499" y="191"/>
                  </a:lnTo>
                  <a:lnTo>
                    <a:pt x="1499" y="191"/>
                  </a:lnTo>
                  <a:lnTo>
                    <a:pt x="1499" y="203"/>
                  </a:lnTo>
                  <a:lnTo>
                    <a:pt x="1499" y="203"/>
                  </a:lnTo>
                  <a:lnTo>
                    <a:pt x="1499" y="226"/>
                  </a:lnTo>
                  <a:lnTo>
                    <a:pt x="1499" y="226"/>
                  </a:lnTo>
                  <a:lnTo>
                    <a:pt x="1499" y="273"/>
                  </a:lnTo>
                  <a:lnTo>
                    <a:pt x="1499" y="273"/>
                  </a:lnTo>
                  <a:lnTo>
                    <a:pt x="1492" y="273"/>
                  </a:lnTo>
                  <a:lnTo>
                    <a:pt x="1489" y="273"/>
                  </a:lnTo>
                  <a:lnTo>
                    <a:pt x="1487" y="273"/>
                  </a:lnTo>
                  <a:lnTo>
                    <a:pt x="1487" y="273"/>
                  </a:lnTo>
                  <a:lnTo>
                    <a:pt x="1487" y="280"/>
                  </a:lnTo>
                  <a:lnTo>
                    <a:pt x="1487" y="285"/>
                  </a:lnTo>
                  <a:lnTo>
                    <a:pt x="1487" y="285"/>
                  </a:lnTo>
                  <a:lnTo>
                    <a:pt x="1480" y="285"/>
                  </a:lnTo>
                  <a:lnTo>
                    <a:pt x="1475" y="285"/>
                  </a:lnTo>
                  <a:lnTo>
                    <a:pt x="1475" y="285"/>
                  </a:lnTo>
                  <a:lnTo>
                    <a:pt x="1468" y="285"/>
                  </a:lnTo>
                  <a:lnTo>
                    <a:pt x="1464" y="285"/>
                  </a:lnTo>
                  <a:lnTo>
                    <a:pt x="1464" y="285"/>
                  </a:lnTo>
                  <a:lnTo>
                    <a:pt x="1464" y="287"/>
                  </a:lnTo>
                  <a:lnTo>
                    <a:pt x="1464" y="290"/>
                  </a:lnTo>
                  <a:lnTo>
                    <a:pt x="1464" y="297"/>
                  </a:lnTo>
                  <a:lnTo>
                    <a:pt x="1464" y="297"/>
                  </a:lnTo>
                  <a:lnTo>
                    <a:pt x="1456" y="297"/>
                  </a:lnTo>
                  <a:lnTo>
                    <a:pt x="1452" y="297"/>
                  </a:lnTo>
                  <a:lnTo>
                    <a:pt x="1452" y="297"/>
                  </a:lnTo>
                  <a:lnTo>
                    <a:pt x="1452" y="302"/>
                  </a:lnTo>
                  <a:lnTo>
                    <a:pt x="1452" y="309"/>
                  </a:lnTo>
                  <a:lnTo>
                    <a:pt x="1452" y="309"/>
                  </a:lnTo>
                  <a:lnTo>
                    <a:pt x="1452" y="320"/>
                  </a:lnTo>
                  <a:lnTo>
                    <a:pt x="1452" y="320"/>
                  </a:lnTo>
                  <a:lnTo>
                    <a:pt x="1428" y="320"/>
                  </a:lnTo>
                  <a:lnTo>
                    <a:pt x="1428" y="320"/>
                  </a:lnTo>
                  <a:lnTo>
                    <a:pt x="1428" y="297"/>
                  </a:lnTo>
                  <a:lnTo>
                    <a:pt x="1428" y="297"/>
                  </a:lnTo>
                  <a:lnTo>
                    <a:pt x="1428" y="285"/>
                  </a:lnTo>
                  <a:lnTo>
                    <a:pt x="1428" y="285"/>
                  </a:lnTo>
                  <a:lnTo>
                    <a:pt x="1428" y="262"/>
                  </a:lnTo>
                  <a:lnTo>
                    <a:pt x="1428" y="262"/>
                  </a:lnTo>
                  <a:lnTo>
                    <a:pt x="1428" y="214"/>
                  </a:lnTo>
                  <a:lnTo>
                    <a:pt x="1428" y="214"/>
                  </a:lnTo>
                  <a:lnTo>
                    <a:pt x="1428" y="191"/>
                  </a:lnTo>
                  <a:lnTo>
                    <a:pt x="1428" y="191"/>
                  </a:lnTo>
                  <a:lnTo>
                    <a:pt x="1428" y="179"/>
                  </a:lnTo>
                  <a:lnTo>
                    <a:pt x="1428" y="179"/>
                  </a:lnTo>
                  <a:lnTo>
                    <a:pt x="1428" y="153"/>
                  </a:lnTo>
                  <a:lnTo>
                    <a:pt x="1428" y="153"/>
                  </a:lnTo>
                  <a:lnTo>
                    <a:pt x="1428" y="141"/>
                  </a:lnTo>
                  <a:lnTo>
                    <a:pt x="1428" y="141"/>
                  </a:lnTo>
                  <a:lnTo>
                    <a:pt x="1428" y="130"/>
                  </a:lnTo>
                  <a:lnTo>
                    <a:pt x="1428" y="130"/>
                  </a:lnTo>
                  <a:lnTo>
                    <a:pt x="1428" y="118"/>
                  </a:lnTo>
                  <a:lnTo>
                    <a:pt x="1428" y="118"/>
                  </a:lnTo>
                  <a:lnTo>
                    <a:pt x="1421" y="118"/>
                  </a:lnTo>
                  <a:lnTo>
                    <a:pt x="1416" y="118"/>
                  </a:lnTo>
                  <a:lnTo>
                    <a:pt x="1416" y="118"/>
                  </a:lnTo>
                  <a:lnTo>
                    <a:pt x="1416" y="106"/>
                  </a:lnTo>
                  <a:lnTo>
                    <a:pt x="1416" y="106"/>
                  </a:lnTo>
                  <a:lnTo>
                    <a:pt x="1416" y="94"/>
                  </a:lnTo>
                  <a:lnTo>
                    <a:pt x="1416" y="94"/>
                  </a:lnTo>
                  <a:lnTo>
                    <a:pt x="1390" y="94"/>
                  </a:lnTo>
                  <a:lnTo>
                    <a:pt x="1390" y="94"/>
                  </a:lnTo>
                  <a:lnTo>
                    <a:pt x="1367" y="94"/>
                  </a:lnTo>
                  <a:lnTo>
                    <a:pt x="1367" y="94"/>
                  </a:lnTo>
                  <a:lnTo>
                    <a:pt x="1362" y="94"/>
                  </a:lnTo>
                  <a:lnTo>
                    <a:pt x="1358" y="94"/>
                  </a:lnTo>
                  <a:lnTo>
                    <a:pt x="1355" y="94"/>
                  </a:lnTo>
                  <a:lnTo>
                    <a:pt x="1355" y="94"/>
                  </a:lnTo>
                  <a:lnTo>
                    <a:pt x="1355" y="101"/>
                  </a:lnTo>
                  <a:lnTo>
                    <a:pt x="1355" y="106"/>
                  </a:lnTo>
                  <a:lnTo>
                    <a:pt x="1355" y="106"/>
                  </a:lnTo>
                  <a:lnTo>
                    <a:pt x="1358" y="113"/>
                  </a:lnTo>
                  <a:lnTo>
                    <a:pt x="1355" y="118"/>
                  </a:lnTo>
                  <a:lnTo>
                    <a:pt x="1355" y="118"/>
                  </a:lnTo>
                  <a:lnTo>
                    <a:pt x="1350" y="118"/>
                  </a:lnTo>
                  <a:lnTo>
                    <a:pt x="1343" y="118"/>
                  </a:lnTo>
                  <a:lnTo>
                    <a:pt x="1343" y="118"/>
                  </a:lnTo>
                  <a:lnTo>
                    <a:pt x="1343" y="130"/>
                  </a:lnTo>
                  <a:lnTo>
                    <a:pt x="1343" y="130"/>
                  </a:lnTo>
                  <a:lnTo>
                    <a:pt x="1343" y="141"/>
                  </a:lnTo>
                  <a:lnTo>
                    <a:pt x="1343" y="141"/>
                  </a:lnTo>
                  <a:lnTo>
                    <a:pt x="1343" y="153"/>
                  </a:lnTo>
                  <a:lnTo>
                    <a:pt x="1343" y="153"/>
                  </a:lnTo>
                  <a:lnTo>
                    <a:pt x="1343" y="179"/>
                  </a:lnTo>
                  <a:lnTo>
                    <a:pt x="1343" y="179"/>
                  </a:lnTo>
                  <a:lnTo>
                    <a:pt x="1343" y="191"/>
                  </a:lnTo>
                  <a:lnTo>
                    <a:pt x="1343" y="191"/>
                  </a:lnTo>
                  <a:lnTo>
                    <a:pt x="1343" y="214"/>
                  </a:lnTo>
                  <a:lnTo>
                    <a:pt x="1343" y="214"/>
                  </a:lnTo>
                  <a:lnTo>
                    <a:pt x="1343" y="262"/>
                  </a:lnTo>
                  <a:lnTo>
                    <a:pt x="1343" y="262"/>
                  </a:lnTo>
                  <a:lnTo>
                    <a:pt x="1343" y="273"/>
                  </a:lnTo>
                  <a:lnTo>
                    <a:pt x="1343" y="273"/>
                  </a:lnTo>
                  <a:lnTo>
                    <a:pt x="1339" y="273"/>
                  </a:lnTo>
                  <a:lnTo>
                    <a:pt x="1332" y="273"/>
                  </a:lnTo>
                  <a:lnTo>
                    <a:pt x="1332" y="273"/>
                  </a:lnTo>
                  <a:lnTo>
                    <a:pt x="1332" y="278"/>
                  </a:lnTo>
                  <a:lnTo>
                    <a:pt x="1332" y="285"/>
                  </a:lnTo>
                  <a:lnTo>
                    <a:pt x="1332" y="285"/>
                  </a:lnTo>
                  <a:lnTo>
                    <a:pt x="1329" y="285"/>
                  </a:lnTo>
                  <a:lnTo>
                    <a:pt x="1327" y="285"/>
                  </a:lnTo>
                  <a:lnTo>
                    <a:pt x="1320" y="285"/>
                  </a:lnTo>
                  <a:lnTo>
                    <a:pt x="1320" y="285"/>
                  </a:lnTo>
                  <a:lnTo>
                    <a:pt x="1320" y="297"/>
                  </a:lnTo>
                  <a:lnTo>
                    <a:pt x="1320" y="297"/>
                  </a:lnTo>
                  <a:lnTo>
                    <a:pt x="1320" y="309"/>
                  </a:lnTo>
                  <a:lnTo>
                    <a:pt x="1320" y="309"/>
                  </a:lnTo>
                  <a:lnTo>
                    <a:pt x="1320" y="320"/>
                  </a:lnTo>
                  <a:lnTo>
                    <a:pt x="1320" y="320"/>
                  </a:lnTo>
                  <a:lnTo>
                    <a:pt x="1320" y="332"/>
                  </a:lnTo>
                  <a:lnTo>
                    <a:pt x="1320" y="332"/>
                  </a:lnTo>
                  <a:lnTo>
                    <a:pt x="1320" y="344"/>
                  </a:lnTo>
                  <a:lnTo>
                    <a:pt x="1320" y="344"/>
                  </a:lnTo>
                  <a:lnTo>
                    <a:pt x="1320" y="351"/>
                  </a:lnTo>
                  <a:lnTo>
                    <a:pt x="1320" y="356"/>
                  </a:lnTo>
                  <a:lnTo>
                    <a:pt x="1320" y="356"/>
                  </a:lnTo>
                  <a:lnTo>
                    <a:pt x="1317" y="358"/>
                  </a:lnTo>
                  <a:lnTo>
                    <a:pt x="1315" y="356"/>
                  </a:lnTo>
                  <a:lnTo>
                    <a:pt x="1308" y="356"/>
                  </a:lnTo>
                  <a:lnTo>
                    <a:pt x="1308" y="356"/>
                  </a:lnTo>
                  <a:lnTo>
                    <a:pt x="1303" y="356"/>
                  </a:lnTo>
                  <a:lnTo>
                    <a:pt x="1299" y="356"/>
                  </a:lnTo>
                  <a:lnTo>
                    <a:pt x="1296" y="356"/>
                  </a:lnTo>
                  <a:lnTo>
                    <a:pt x="1296" y="356"/>
                  </a:lnTo>
                  <a:lnTo>
                    <a:pt x="1296" y="344"/>
                  </a:lnTo>
                  <a:lnTo>
                    <a:pt x="1296" y="344"/>
                  </a:lnTo>
                  <a:lnTo>
                    <a:pt x="1296" y="332"/>
                  </a:lnTo>
                  <a:lnTo>
                    <a:pt x="1296" y="332"/>
                  </a:lnTo>
                  <a:lnTo>
                    <a:pt x="1296" y="320"/>
                  </a:lnTo>
                  <a:lnTo>
                    <a:pt x="1296" y="320"/>
                  </a:lnTo>
                  <a:lnTo>
                    <a:pt x="1296" y="309"/>
                  </a:lnTo>
                  <a:lnTo>
                    <a:pt x="1296" y="309"/>
                  </a:lnTo>
                  <a:lnTo>
                    <a:pt x="1296" y="302"/>
                  </a:lnTo>
                  <a:lnTo>
                    <a:pt x="1296" y="297"/>
                  </a:lnTo>
                  <a:lnTo>
                    <a:pt x="1296" y="297"/>
                  </a:lnTo>
                  <a:lnTo>
                    <a:pt x="1294" y="297"/>
                  </a:lnTo>
                  <a:lnTo>
                    <a:pt x="1292" y="297"/>
                  </a:lnTo>
                  <a:lnTo>
                    <a:pt x="1287" y="297"/>
                  </a:lnTo>
                  <a:lnTo>
                    <a:pt x="1284" y="297"/>
                  </a:lnTo>
                  <a:lnTo>
                    <a:pt x="1284" y="297"/>
                  </a:lnTo>
                  <a:lnTo>
                    <a:pt x="1282" y="297"/>
                  </a:lnTo>
                  <a:lnTo>
                    <a:pt x="1280" y="297"/>
                  </a:lnTo>
                  <a:lnTo>
                    <a:pt x="1275" y="297"/>
                  </a:lnTo>
                  <a:lnTo>
                    <a:pt x="1273" y="297"/>
                  </a:lnTo>
                  <a:lnTo>
                    <a:pt x="1273" y="297"/>
                  </a:lnTo>
                  <a:lnTo>
                    <a:pt x="1273" y="290"/>
                  </a:lnTo>
                  <a:lnTo>
                    <a:pt x="1273" y="285"/>
                  </a:lnTo>
                  <a:lnTo>
                    <a:pt x="1273" y="285"/>
                  </a:lnTo>
                  <a:lnTo>
                    <a:pt x="1268" y="285"/>
                  </a:lnTo>
                  <a:lnTo>
                    <a:pt x="1261" y="285"/>
                  </a:lnTo>
                  <a:lnTo>
                    <a:pt x="1261" y="285"/>
                  </a:lnTo>
                  <a:lnTo>
                    <a:pt x="1254" y="285"/>
                  </a:lnTo>
                  <a:lnTo>
                    <a:pt x="1249" y="285"/>
                  </a:lnTo>
                  <a:lnTo>
                    <a:pt x="1249" y="285"/>
                  </a:lnTo>
                  <a:lnTo>
                    <a:pt x="1249" y="283"/>
                  </a:lnTo>
                  <a:lnTo>
                    <a:pt x="1249" y="278"/>
                  </a:lnTo>
                  <a:lnTo>
                    <a:pt x="1249" y="273"/>
                  </a:lnTo>
                  <a:lnTo>
                    <a:pt x="1249" y="273"/>
                  </a:lnTo>
                  <a:lnTo>
                    <a:pt x="1237" y="273"/>
                  </a:lnTo>
                  <a:lnTo>
                    <a:pt x="1237" y="273"/>
                  </a:lnTo>
                  <a:lnTo>
                    <a:pt x="1230" y="273"/>
                  </a:lnTo>
                  <a:lnTo>
                    <a:pt x="1226" y="273"/>
                  </a:lnTo>
                  <a:lnTo>
                    <a:pt x="1226" y="273"/>
                  </a:lnTo>
                  <a:lnTo>
                    <a:pt x="1226" y="280"/>
                  </a:lnTo>
                  <a:lnTo>
                    <a:pt x="1226" y="285"/>
                  </a:lnTo>
                  <a:lnTo>
                    <a:pt x="1226" y="285"/>
                  </a:lnTo>
                  <a:lnTo>
                    <a:pt x="1218" y="285"/>
                  </a:lnTo>
                  <a:lnTo>
                    <a:pt x="1214" y="285"/>
                  </a:lnTo>
                  <a:lnTo>
                    <a:pt x="1214" y="285"/>
                  </a:lnTo>
                  <a:lnTo>
                    <a:pt x="1207" y="285"/>
                  </a:lnTo>
                  <a:lnTo>
                    <a:pt x="1202" y="285"/>
                  </a:lnTo>
                  <a:lnTo>
                    <a:pt x="1202" y="285"/>
                  </a:lnTo>
                  <a:lnTo>
                    <a:pt x="1200" y="287"/>
                  </a:lnTo>
                  <a:lnTo>
                    <a:pt x="1202" y="290"/>
                  </a:lnTo>
                  <a:lnTo>
                    <a:pt x="1202" y="295"/>
                  </a:lnTo>
                  <a:lnTo>
                    <a:pt x="1202" y="297"/>
                  </a:lnTo>
                  <a:lnTo>
                    <a:pt x="1202" y="297"/>
                  </a:lnTo>
                  <a:lnTo>
                    <a:pt x="1195" y="297"/>
                  </a:lnTo>
                  <a:lnTo>
                    <a:pt x="1190" y="297"/>
                  </a:lnTo>
                  <a:lnTo>
                    <a:pt x="1190" y="297"/>
                  </a:lnTo>
                  <a:lnTo>
                    <a:pt x="1183" y="297"/>
                  </a:lnTo>
                  <a:lnTo>
                    <a:pt x="1178" y="297"/>
                  </a:lnTo>
                  <a:lnTo>
                    <a:pt x="1178" y="297"/>
                  </a:lnTo>
                  <a:lnTo>
                    <a:pt x="1178" y="302"/>
                  </a:lnTo>
                  <a:lnTo>
                    <a:pt x="1178" y="309"/>
                  </a:lnTo>
                  <a:lnTo>
                    <a:pt x="1178" y="309"/>
                  </a:lnTo>
                  <a:lnTo>
                    <a:pt x="1176" y="316"/>
                  </a:lnTo>
                  <a:lnTo>
                    <a:pt x="1178" y="320"/>
                  </a:lnTo>
                  <a:lnTo>
                    <a:pt x="1178" y="320"/>
                  </a:lnTo>
                  <a:lnTo>
                    <a:pt x="1178" y="332"/>
                  </a:lnTo>
                  <a:lnTo>
                    <a:pt x="1178" y="332"/>
                  </a:lnTo>
                  <a:lnTo>
                    <a:pt x="1178" y="339"/>
                  </a:lnTo>
                  <a:lnTo>
                    <a:pt x="1178" y="344"/>
                  </a:lnTo>
                  <a:lnTo>
                    <a:pt x="1178" y="344"/>
                  </a:lnTo>
                  <a:lnTo>
                    <a:pt x="1176" y="344"/>
                  </a:lnTo>
                  <a:lnTo>
                    <a:pt x="1171" y="344"/>
                  </a:lnTo>
                  <a:lnTo>
                    <a:pt x="1167" y="344"/>
                  </a:lnTo>
                  <a:lnTo>
                    <a:pt x="1167" y="344"/>
                  </a:lnTo>
                  <a:lnTo>
                    <a:pt x="1167" y="320"/>
                  </a:lnTo>
                  <a:lnTo>
                    <a:pt x="1167" y="320"/>
                  </a:lnTo>
                  <a:lnTo>
                    <a:pt x="1160" y="320"/>
                  </a:lnTo>
                  <a:lnTo>
                    <a:pt x="1157" y="320"/>
                  </a:lnTo>
                  <a:lnTo>
                    <a:pt x="1155" y="320"/>
                  </a:lnTo>
                  <a:lnTo>
                    <a:pt x="1155" y="320"/>
                  </a:lnTo>
                  <a:lnTo>
                    <a:pt x="1153" y="318"/>
                  </a:lnTo>
                  <a:lnTo>
                    <a:pt x="1153" y="316"/>
                  </a:lnTo>
                  <a:lnTo>
                    <a:pt x="1155" y="309"/>
                  </a:lnTo>
                  <a:lnTo>
                    <a:pt x="1155" y="309"/>
                  </a:lnTo>
                  <a:lnTo>
                    <a:pt x="1153" y="306"/>
                  </a:lnTo>
                  <a:lnTo>
                    <a:pt x="1155" y="304"/>
                  </a:lnTo>
                  <a:lnTo>
                    <a:pt x="1155" y="299"/>
                  </a:lnTo>
                  <a:lnTo>
                    <a:pt x="1155" y="297"/>
                  </a:lnTo>
                  <a:lnTo>
                    <a:pt x="1155" y="297"/>
                  </a:lnTo>
                  <a:lnTo>
                    <a:pt x="1141" y="297"/>
                  </a:lnTo>
                  <a:lnTo>
                    <a:pt x="1141" y="297"/>
                  </a:lnTo>
                  <a:lnTo>
                    <a:pt x="1136" y="297"/>
                  </a:lnTo>
                  <a:lnTo>
                    <a:pt x="1129" y="297"/>
                  </a:lnTo>
                  <a:lnTo>
                    <a:pt x="1129" y="297"/>
                  </a:lnTo>
                  <a:lnTo>
                    <a:pt x="1129" y="295"/>
                  </a:lnTo>
                  <a:lnTo>
                    <a:pt x="1129" y="292"/>
                  </a:lnTo>
                  <a:lnTo>
                    <a:pt x="1129" y="285"/>
                  </a:lnTo>
                  <a:lnTo>
                    <a:pt x="1129" y="285"/>
                  </a:lnTo>
                  <a:lnTo>
                    <a:pt x="1127" y="285"/>
                  </a:lnTo>
                  <a:lnTo>
                    <a:pt x="1124" y="285"/>
                  </a:lnTo>
                  <a:lnTo>
                    <a:pt x="1120" y="285"/>
                  </a:lnTo>
                  <a:lnTo>
                    <a:pt x="1117" y="285"/>
                  </a:lnTo>
                  <a:lnTo>
                    <a:pt x="1117" y="285"/>
                  </a:lnTo>
                  <a:lnTo>
                    <a:pt x="1117" y="283"/>
                  </a:lnTo>
                  <a:lnTo>
                    <a:pt x="1117" y="278"/>
                  </a:lnTo>
                  <a:lnTo>
                    <a:pt x="1117" y="273"/>
                  </a:lnTo>
                  <a:lnTo>
                    <a:pt x="1117" y="273"/>
                  </a:lnTo>
                  <a:lnTo>
                    <a:pt x="1105" y="273"/>
                  </a:lnTo>
                  <a:lnTo>
                    <a:pt x="1105" y="273"/>
                  </a:lnTo>
                  <a:lnTo>
                    <a:pt x="1094" y="273"/>
                  </a:lnTo>
                  <a:lnTo>
                    <a:pt x="1094" y="273"/>
                  </a:lnTo>
                  <a:lnTo>
                    <a:pt x="1046" y="273"/>
                  </a:lnTo>
                  <a:lnTo>
                    <a:pt x="1046" y="273"/>
                  </a:lnTo>
                  <a:lnTo>
                    <a:pt x="1046" y="297"/>
                  </a:lnTo>
                  <a:lnTo>
                    <a:pt x="1046" y="297"/>
                  </a:lnTo>
                  <a:lnTo>
                    <a:pt x="1023" y="297"/>
                  </a:lnTo>
                  <a:lnTo>
                    <a:pt x="1023" y="297"/>
                  </a:lnTo>
                  <a:lnTo>
                    <a:pt x="1023" y="344"/>
                  </a:lnTo>
                  <a:lnTo>
                    <a:pt x="1023" y="344"/>
                  </a:lnTo>
                  <a:lnTo>
                    <a:pt x="1011" y="344"/>
                  </a:lnTo>
                  <a:lnTo>
                    <a:pt x="1011" y="344"/>
                  </a:lnTo>
                  <a:lnTo>
                    <a:pt x="988" y="344"/>
                  </a:lnTo>
                  <a:lnTo>
                    <a:pt x="988" y="344"/>
                  </a:lnTo>
                  <a:lnTo>
                    <a:pt x="964" y="344"/>
                  </a:lnTo>
                  <a:lnTo>
                    <a:pt x="964" y="344"/>
                  </a:lnTo>
                  <a:lnTo>
                    <a:pt x="952" y="344"/>
                  </a:lnTo>
                  <a:lnTo>
                    <a:pt x="952" y="344"/>
                  </a:lnTo>
                  <a:lnTo>
                    <a:pt x="940" y="344"/>
                  </a:lnTo>
                  <a:lnTo>
                    <a:pt x="940" y="344"/>
                  </a:lnTo>
                  <a:lnTo>
                    <a:pt x="929" y="344"/>
                  </a:lnTo>
                  <a:lnTo>
                    <a:pt x="929" y="344"/>
                  </a:lnTo>
                  <a:lnTo>
                    <a:pt x="922" y="344"/>
                  </a:lnTo>
                  <a:lnTo>
                    <a:pt x="917" y="344"/>
                  </a:lnTo>
                  <a:lnTo>
                    <a:pt x="917" y="344"/>
                  </a:lnTo>
                  <a:lnTo>
                    <a:pt x="917" y="339"/>
                  </a:lnTo>
                  <a:lnTo>
                    <a:pt x="917" y="332"/>
                  </a:lnTo>
                  <a:lnTo>
                    <a:pt x="917" y="332"/>
                  </a:lnTo>
                  <a:lnTo>
                    <a:pt x="915" y="332"/>
                  </a:lnTo>
                  <a:lnTo>
                    <a:pt x="910" y="332"/>
                  </a:lnTo>
                  <a:lnTo>
                    <a:pt x="903" y="332"/>
                  </a:lnTo>
                  <a:lnTo>
                    <a:pt x="903" y="332"/>
                  </a:lnTo>
                  <a:lnTo>
                    <a:pt x="903" y="309"/>
                  </a:lnTo>
                  <a:lnTo>
                    <a:pt x="903" y="309"/>
                  </a:lnTo>
                  <a:lnTo>
                    <a:pt x="903" y="262"/>
                  </a:lnTo>
                  <a:lnTo>
                    <a:pt x="903" y="262"/>
                  </a:lnTo>
                  <a:lnTo>
                    <a:pt x="903" y="250"/>
                  </a:lnTo>
                  <a:lnTo>
                    <a:pt x="903" y="250"/>
                  </a:lnTo>
                  <a:lnTo>
                    <a:pt x="903" y="226"/>
                  </a:lnTo>
                  <a:lnTo>
                    <a:pt x="903" y="226"/>
                  </a:lnTo>
                  <a:lnTo>
                    <a:pt x="903" y="203"/>
                  </a:lnTo>
                  <a:lnTo>
                    <a:pt x="903" y="203"/>
                  </a:lnTo>
                  <a:lnTo>
                    <a:pt x="856" y="203"/>
                  </a:lnTo>
                  <a:lnTo>
                    <a:pt x="856" y="203"/>
                  </a:lnTo>
                  <a:lnTo>
                    <a:pt x="856" y="191"/>
                  </a:lnTo>
                  <a:lnTo>
                    <a:pt x="856" y="191"/>
                  </a:lnTo>
                  <a:lnTo>
                    <a:pt x="856" y="141"/>
                  </a:lnTo>
                  <a:lnTo>
                    <a:pt x="856" y="141"/>
                  </a:lnTo>
                  <a:lnTo>
                    <a:pt x="856" y="118"/>
                  </a:lnTo>
                  <a:lnTo>
                    <a:pt x="856" y="118"/>
                  </a:lnTo>
                  <a:lnTo>
                    <a:pt x="856" y="106"/>
                  </a:lnTo>
                  <a:lnTo>
                    <a:pt x="856" y="106"/>
                  </a:lnTo>
                  <a:lnTo>
                    <a:pt x="856" y="59"/>
                  </a:lnTo>
                  <a:lnTo>
                    <a:pt x="856" y="59"/>
                  </a:lnTo>
                  <a:lnTo>
                    <a:pt x="856" y="47"/>
                  </a:lnTo>
                  <a:lnTo>
                    <a:pt x="856" y="47"/>
                  </a:lnTo>
                  <a:lnTo>
                    <a:pt x="856" y="24"/>
                  </a:lnTo>
                  <a:lnTo>
                    <a:pt x="856" y="24"/>
                  </a:lnTo>
                  <a:lnTo>
                    <a:pt x="851" y="24"/>
                  </a:lnTo>
                  <a:lnTo>
                    <a:pt x="844" y="24"/>
                  </a:lnTo>
                  <a:lnTo>
                    <a:pt x="844" y="24"/>
                  </a:lnTo>
                  <a:lnTo>
                    <a:pt x="844" y="12"/>
                  </a:lnTo>
                  <a:lnTo>
                    <a:pt x="844" y="12"/>
                  </a:lnTo>
                  <a:lnTo>
                    <a:pt x="844" y="0"/>
                  </a:lnTo>
                  <a:lnTo>
                    <a:pt x="844" y="0"/>
                  </a:lnTo>
                  <a:lnTo>
                    <a:pt x="750" y="0"/>
                  </a:lnTo>
                  <a:lnTo>
                    <a:pt x="750" y="0"/>
                  </a:lnTo>
                  <a:lnTo>
                    <a:pt x="750" y="12"/>
                  </a:lnTo>
                  <a:lnTo>
                    <a:pt x="750" y="12"/>
                  </a:lnTo>
                  <a:lnTo>
                    <a:pt x="750" y="35"/>
                  </a:lnTo>
                  <a:lnTo>
                    <a:pt x="750" y="35"/>
                  </a:lnTo>
                  <a:lnTo>
                    <a:pt x="750" y="47"/>
                  </a:lnTo>
                  <a:lnTo>
                    <a:pt x="750" y="47"/>
                  </a:lnTo>
                  <a:lnTo>
                    <a:pt x="750" y="54"/>
                  </a:lnTo>
                  <a:lnTo>
                    <a:pt x="750" y="59"/>
                  </a:lnTo>
                  <a:lnTo>
                    <a:pt x="750" y="59"/>
                  </a:lnTo>
                  <a:lnTo>
                    <a:pt x="743" y="59"/>
                  </a:lnTo>
                  <a:lnTo>
                    <a:pt x="738" y="59"/>
                  </a:lnTo>
                  <a:lnTo>
                    <a:pt x="738" y="59"/>
                  </a:lnTo>
                  <a:lnTo>
                    <a:pt x="738" y="64"/>
                  </a:lnTo>
                  <a:lnTo>
                    <a:pt x="738" y="71"/>
                  </a:lnTo>
                  <a:lnTo>
                    <a:pt x="738" y="71"/>
                  </a:lnTo>
                  <a:lnTo>
                    <a:pt x="738" y="82"/>
                  </a:lnTo>
                  <a:lnTo>
                    <a:pt x="738" y="82"/>
                  </a:lnTo>
                  <a:lnTo>
                    <a:pt x="738" y="106"/>
                  </a:lnTo>
                  <a:lnTo>
                    <a:pt x="738" y="106"/>
                  </a:lnTo>
                  <a:lnTo>
                    <a:pt x="738" y="118"/>
                  </a:lnTo>
                  <a:lnTo>
                    <a:pt x="738" y="118"/>
                  </a:lnTo>
                  <a:lnTo>
                    <a:pt x="738" y="141"/>
                  </a:lnTo>
                  <a:lnTo>
                    <a:pt x="738" y="141"/>
                  </a:lnTo>
                  <a:lnTo>
                    <a:pt x="738" y="238"/>
                  </a:lnTo>
                  <a:lnTo>
                    <a:pt x="738" y="238"/>
                  </a:lnTo>
                  <a:lnTo>
                    <a:pt x="738" y="250"/>
                  </a:lnTo>
                  <a:lnTo>
                    <a:pt x="738" y="250"/>
                  </a:lnTo>
                  <a:lnTo>
                    <a:pt x="738" y="273"/>
                  </a:lnTo>
                  <a:lnTo>
                    <a:pt x="738" y="273"/>
                  </a:lnTo>
                  <a:lnTo>
                    <a:pt x="738" y="320"/>
                  </a:lnTo>
                  <a:lnTo>
                    <a:pt x="738" y="320"/>
                  </a:lnTo>
                  <a:lnTo>
                    <a:pt x="726" y="320"/>
                  </a:lnTo>
                  <a:lnTo>
                    <a:pt x="726" y="320"/>
                  </a:lnTo>
                  <a:lnTo>
                    <a:pt x="726" y="309"/>
                  </a:lnTo>
                  <a:lnTo>
                    <a:pt x="726" y="309"/>
                  </a:lnTo>
                  <a:lnTo>
                    <a:pt x="726" y="297"/>
                  </a:lnTo>
                  <a:lnTo>
                    <a:pt x="726" y="297"/>
                  </a:lnTo>
                  <a:lnTo>
                    <a:pt x="726" y="285"/>
                  </a:lnTo>
                  <a:lnTo>
                    <a:pt x="726" y="285"/>
                  </a:lnTo>
                  <a:lnTo>
                    <a:pt x="726" y="278"/>
                  </a:lnTo>
                  <a:lnTo>
                    <a:pt x="726" y="273"/>
                  </a:lnTo>
                  <a:lnTo>
                    <a:pt x="726" y="273"/>
                  </a:lnTo>
                  <a:lnTo>
                    <a:pt x="724" y="273"/>
                  </a:lnTo>
                  <a:lnTo>
                    <a:pt x="719" y="273"/>
                  </a:lnTo>
                  <a:lnTo>
                    <a:pt x="714" y="273"/>
                  </a:lnTo>
                  <a:lnTo>
                    <a:pt x="714" y="273"/>
                  </a:lnTo>
                  <a:lnTo>
                    <a:pt x="712" y="271"/>
                  </a:lnTo>
                  <a:lnTo>
                    <a:pt x="714" y="266"/>
                  </a:lnTo>
                  <a:lnTo>
                    <a:pt x="714" y="262"/>
                  </a:lnTo>
                  <a:lnTo>
                    <a:pt x="714" y="262"/>
                  </a:lnTo>
                  <a:lnTo>
                    <a:pt x="702" y="262"/>
                  </a:lnTo>
                  <a:lnTo>
                    <a:pt x="702" y="262"/>
                  </a:lnTo>
                  <a:lnTo>
                    <a:pt x="679" y="262"/>
                  </a:lnTo>
                  <a:lnTo>
                    <a:pt x="679" y="262"/>
                  </a:lnTo>
                  <a:lnTo>
                    <a:pt x="679" y="266"/>
                  </a:lnTo>
                  <a:lnTo>
                    <a:pt x="679" y="273"/>
                  </a:lnTo>
                  <a:lnTo>
                    <a:pt x="679" y="273"/>
                  </a:lnTo>
                  <a:lnTo>
                    <a:pt x="667" y="273"/>
                  </a:lnTo>
                  <a:lnTo>
                    <a:pt x="667" y="273"/>
                  </a:lnTo>
                  <a:lnTo>
                    <a:pt x="660" y="273"/>
                  </a:lnTo>
                  <a:lnTo>
                    <a:pt x="653" y="273"/>
                  </a:lnTo>
                  <a:lnTo>
                    <a:pt x="653" y="273"/>
                  </a:lnTo>
                  <a:lnTo>
                    <a:pt x="653" y="278"/>
                  </a:lnTo>
                  <a:lnTo>
                    <a:pt x="653" y="285"/>
                  </a:lnTo>
                  <a:lnTo>
                    <a:pt x="653" y="285"/>
                  </a:lnTo>
                  <a:lnTo>
                    <a:pt x="641" y="285"/>
                  </a:lnTo>
                  <a:lnTo>
                    <a:pt x="641" y="285"/>
                  </a:lnTo>
                  <a:lnTo>
                    <a:pt x="629" y="285"/>
                  </a:lnTo>
                  <a:lnTo>
                    <a:pt x="629" y="285"/>
                  </a:lnTo>
                  <a:lnTo>
                    <a:pt x="629" y="292"/>
                  </a:lnTo>
                  <a:lnTo>
                    <a:pt x="632" y="295"/>
                  </a:lnTo>
                  <a:lnTo>
                    <a:pt x="629" y="297"/>
                  </a:lnTo>
                  <a:lnTo>
                    <a:pt x="629" y="297"/>
                  </a:lnTo>
                  <a:lnTo>
                    <a:pt x="625" y="297"/>
                  </a:lnTo>
                  <a:lnTo>
                    <a:pt x="618" y="297"/>
                  </a:lnTo>
                  <a:lnTo>
                    <a:pt x="618" y="297"/>
                  </a:lnTo>
                  <a:lnTo>
                    <a:pt x="613" y="297"/>
                  </a:lnTo>
                  <a:lnTo>
                    <a:pt x="606" y="297"/>
                  </a:lnTo>
                  <a:lnTo>
                    <a:pt x="606" y="297"/>
                  </a:lnTo>
                  <a:lnTo>
                    <a:pt x="594" y="297"/>
                  </a:lnTo>
                  <a:lnTo>
                    <a:pt x="594" y="297"/>
                  </a:lnTo>
                  <a:lnTo>
                    <a:pt x="582" y="297"/>
                  </a:lnTo>
                  <a:lnTo>
                    <a:pt x="582" y="297"/>
                  </a:lnTo>
                  <a:lnTo>
                    <a:pt x="582" y="302"/>
                  </a:lnTo>
                  <a:lnTo>
                    <a:pt x="582" y="309"/>
                  </a:lnTo>
                  <a:lnTo>
                    <a:pt x="582" y="309"/>
                  </a:lnTo>
                  <a:lnTo>
                    <a:pt x="578" y="309"/>
                  </a:lnTo>
                  <a:lnTo>
                    <a:pt x="571" y="309"/>
                  </a:lnTo>
                  <a:lnTo>
                    <a:pt x="571" y="309"/>
                  </a:lnTo>
                  <a:lnTo>
                    <a:pt x="571" y="316"/>
                  </a:lnTo>
                  <a:lnTo>
                    <a:pt x="571" y="320"/>
                  </a:lnTo>
                  <a:lnTo>
                    <a:pt x="571" y="320"/>
                  </a:lnTo>
                  <a:lnTo>
                    <a:pt x="566" y="320"/>
                  </a:lnTo>
                  <a:lnTo>
                    <a:pt x="559" y="320"/>
                  </a:lnTo>
                  <a:lnTo>
                    <a:pt x="559" y="320"/>
                  </a:lnTo>
                  <a:lnTo>
                    <a:pt x="559" y="328"/>
                  </a:lnTo>
                  <a:lnTo>
                    <a:pt x="559" y="332"/>
                  </a:lnTo>
                  <a:lnTo>
                    <a:pt x="559" y="332"/>
                  </a:lnTo>
                  <a:lnTo>
                    <a:pt x="559" y="356"/>
                  </a:lnTo>
                  <a:lnTo>
                    <a:pt x="559" y="356"/>
                  </a:lnTo>
                  <a:lnTo>
                    <a:pt x="554" y="356"/>
                  </a:lnTo>
                  <a:lnTo>
                    <a:pt x="547" y="356"/>
                  </a:lnTo>
                  <a:lnTo>
                    <a:pt x="547" y="356"/>
                  </a:lnTo>
                  <a:lnTo>
                    <a:pt x="542" y="356"/>
                  </a:lnTo>
                  <a:lnTo>
                    <a:pt x="535" y="356"/>
                  </a:lnTo>
                  <a:lnTo>
                    <a:pt x="535" y="356"/>
                  </a:lnTo>
                  <a:lnTo>
                    <a:pt x="528" y="356"/>
                  </a:lnTo>
                  <a:lnTo>
                    <a:pt x="523" y="356"/>
                  </a:lnTo>
                  <a:lnTo>
                    <a:pt x="523" y="356"/>
                  </a:lnTo>
                  <a:lnTo>
                    <a:pt x="523" y="351"/>
                  </a:lnTo>
                  <a:lnTo>
                    <a:pt x="523" y="344"/>
                  </a:lnTo>
                  <a:lnTo>
                    <a:pt x="523" y="344"/>
                  </a:lnTo>
                  <a:lnTo>
                    <a:pt x="512" y="344"/>
                  </a:lnTo>
                  <a:lnTo>
                    <a:pt x="512" y="344"/>
                  </a:lnTo>
                  <a:lnTo>
                    <a:pt x="500" y="344"/>
                  </a:lnTo>
                  <a:lnTo>
                    <a:pt x="500" y="344"/>
                  </a:lnTo>
                  <a:lnTo>
                    <a:pt x="476" y="344"/>
                  </a:lnTo>
                  <a:lnTo>
                    <a:pt x="476" y="344"/>
                  </a:lnTo>
                  <a:lnTo>
                    <a:pt x="453" y="344"/>
                  </a:lnTo>
                  <a:lnTo>
                    <a:pt x="453" y="344"/>
                  </a:lnTo>
                  <a:lnTo>
                    <a:pt x="453" y="339"/>
                  </a:lnTo>
                  <a:lnTo>
                    <a:pt x="453" y="335"/>
                  </a:lnTo>
                  <a:lnTo>
                    <a:pt x="453" y="332"/>
                  </a:lnTo>
                  <a:lnTo>
                    <a:pt x="453" y="332"/>
                  </a:lnTo>
                  <a:lnTo>
                    <a:pt x="446" y="332"/>
                  </a:lnTo>
                  <a:lnTo>
                    <a:pt x="441" y="332"/>
                  </a:lnTo>
                  <a:lnTo>
                    <a:pt x="441" y="332"/>
                  </a:lnTo>
                  <a:lnTo>
                    <a:pt x="429" y="332"/>
                  </a:lnTo>
                  <a:lnTo>
                    <a:pt x="429" y="332"/>
                  </a:lnTo>
                  <a:lnTo>
                    <a:pt x="429" y="339"/>
                  </a:lnTo>
                  <a:lnTo>
                    <a:pt x="429" y="342"/>
                  </a:lnTo>
                  <a:lnTo>
                    <a:pt x="429" y="344"/>
                  </a:lnTo>
                  <a:lnTo>
                    <a:pt x="429" y="344"/>
                  </a:lnTo>
                  <a:lnTo>
                    <a:pt x="422" y="344"/>
                  </a:lnTo>
                  <a:lnTo>
                    <a:pt x="417" y="344"/>
                  </a:lnTo>
                  <a:lnTo>
                    <a:pt x="417" y="344"/>
                  </a:lnTo>
                  <a:lnTo>
                    <a:pt x="403" y="344"/>
                  </a:lnTo>
                  <a:lnTo>
                    <a:pt x="403" y="344"/>
                  </a:lnTo>
                  <a:lnTo>
                    <a:pt x="399" y="344"/>
                  </a:lnTo>
                  <a:lnTo>
                    <a:pt x="391" y="344"/>
                  </a:lnTo>
                  <a:lnTo>
                    <a:pt x="391" y="344"/>
                  </a:lnTo>
                  <a:lnTo>
                    <a:pt x="387" y="344"/>
                  </a:lnTo>
                  <a:lnTo>
                    <a:pt x="380" y="344"/>
                  </a:lnTo>
                  <a:lnTo>
                    <a:pt x="380" y="344"/>
                  </a:lnTo>
                  <a:lnTo>
                    <a:pt x="380" y="346"/>
                  </a:lnTo>
                  <a:lnTo>
                    <a:pt x="380" y="351"/>
                  </a:lnTo>
                  <a:lnTo>
                    <a:pt x="380" y="356"/>
                  </a:lnTo>
                  <a:lnTo>
                    <a:pt x="380" y="356"/>
                  </a:lnTo>
                  <a:lnTo>
                    <a:pt x="356" y="356"/>
                  </a:lnTo>
                  <a:lnTo>
                    <a:pt x="356" y="356"/>
                  </a:lnTo>
                  <a:lnTo>
                    <a:pt x="344" y="356"/>
                  </a:lnTo>
                  <a:lnTo>
                    <a:pt x="344" y="356"/>
                  </a:lnTo>
                  <a:lnTo>
                    <a:pt x="321" y="356"/>
                  </a:lnTo>
                  <a:lnTo>
                    <a:pt x="321" y="356"/>
                  </a:lnTo>
                  <a:lnTo>
                    <a:pt x="309" y="356"/>
                  </a:lnTo>
                  <a:lnTo>
                    <a:pt x="309" y="356"/>
                  </a:lnTo>
                  <a:lnTo>
                    <a:pt x="297" y="356"/>
                  </a:lnTo>
                  <a:lnTo>
                    <a:pt x="297" y="356"/>
                  </a:lnTo>
                  <a:lnTo>
                    <a:pt x="285" y="356"/>
                  </a:lnTo>
                  <a:lnTo>
                    <a:pt x="285" y="356"/>
                  </a:lnTo>
                  <a:lnTo>
                    <a:pt x="274" y="356"/>
                  </a:lnTo>
                  <a:lnTo>
                    <a:pt x="274" y="356"/>
                  </a:lnTo>
                  <a:lnTo>
                    <a:pt x="262" y="356"/>
                  </a:lnTo>
                  <a:lnTo>
                    <a:pt x="262" y="356"/>
                  </a:lnTo>
                  <a:lnTo>
                    <a:pt x="250" y="356"/>
                  </a:lnTo>
                  <a:lnTo>
                    <a:pt x="250" y="356"/>
                  </a:lnTo>
                  <a:lnTo>
                    <a:pt x="243" y="356"/>
                  </a:lnTo>
                  <a:lnTo>
                    <a:pt x="238" y="356"/>
                  </a:lnTo>
                  <a:lnTo>
                    <a:pt x="238" y="356"/>
                  </a:lnTo>
                  <a:lnTo>
                    <a:pt x="238" y="351"/>
                  </a:lnTo>
                  <a:lnTo>
                    <a:pt x="238" y="344"/>
                  </a:lnTo>
                  <a:lnTo>
                    <a:pt x="238" y="344"/>
                  </a:lnTo>
                  <a:lnTo>
                    <a:pt x="231" y="344"/>
                  </a:lnTo>
                  <a:lnTo>
                    <a:pt x="227" y="344"/>
                  </a:lnTo>
                  <a:lnTo>
                    <a:pt x="227" y="344"/>
                  </a:lnTo>
                  <a:lnTo>
                    <a:pt x="227" y="356"/>
                  </a:lnTo>
                  <a:lnTo>
                    <a:pt x="227" y="356"/>
                  </a:lnTo>
                  <a:lnTo>
                    <a:pt x="215" y="356"/>
                  </a:lnTo>
                  <a:lnTo>
                    <a:pt x="215" y="356"/>
                  </a:lnTo>
                  <a:lnTo>
                    <a:pt x="203" y="356"/>
                  </a:lnTo>
                  <a:lnTo>
                    <a:pt x="203" y="356"/>
                  </a:lnTo>
                  <a:lnTo>
                    <a:pt x="191" y="356"/>
                  </a:lnTo>
                  <a:lnTo>
                    <a:pt x="191" y="356"/>
                  </a:lnTo>
                  <a:lnTo>
                    <a:pt x="179" y="356"/>
                  </a:lnTo>
                  <a:lnTo>
                    <a:pt x="179" y="356"/>
                  </a:lnTo>
                  <a:lnTo>
                    <a:pt x="165" y="356"/>
                  </a:lnTo>
                  <a:lnTo>
                    <a:pt x="165" y="356"/>
                  </a:lnTo>
                  <a:lnTo>
                    <a:pt x="153" y="356"/>
                  </a:lnTo>
                  <a:lnTo>
                    <a:pt x="153" y="356"/>
                  </a:lnTo>
                  <a:lnTo>
                    <a:pt x="130" y="356"/>
                  </a:lnTo>
                  <a:lnTo>
                    <a:pt x="130" y="356"/>
                  </a:lnTo>
                  <a:lnTo>
                    <a:pt x="118" y="356"/>
                  </a:lnTo>
                  <a:lnTo>
                    <a:pt x="118" y="356"/>
                  </a:lnTo>
                  <a:lnTo>
                    <a:pt x="95" y="356"/>
                  </a:lnTo>
                  <a:lnTo>
                    <a:pt x="95" y="356"/>
                  </a:lnTo>
                  <a:lnTo>
                    <a:pt x="0" y="356"/>
                  </a:lnTo>
                  <a:lnTo>
                    <a:pt x="0" y="356"/>
                  </a:lnTo>
                  <a:lnTo>
                    <a:pt x="0" y="379"/>
                  </a:lnTo>
                  <a:lnTo>
                    <a:pt x="0" y="379"/>
                  </a:lnTo>
                  <a:lnTo>
                    <a:pt x="0" y="391"/>
                  </a:lnTo>
                  <a:lnTo>
                    <a:pt x="0" y="391"/>
                  </a:lnTo>
                  <a:lnTo>
                    <a:pt x="0" y="415"/>
                  </a:lnTo>
                  <a:lnTo>
                    <a:pt x="0" y="415"/>
                  </a:lnTo>
                  <a:lnTo>
                    <a:pt x="0" y="429"/>
                  </a:lnTo>
                  <a:lnTo>
                    <a:pt x="0" y="429"/>
                  </a:lnTo>
                  <a:lnTo>
                    <a:pt x="0" y="452"/>
                  </a:lnTo>
                  <a:lnTo>
                    <a:pt x="0" y="452"/>
                  </a:lnTo>
                  <a:lnTo>
                    <a:pt x="0" y="476"/>
                  </a:lnTo>
                  <a:lnTo>
                    <a:pt x="0" y="476"/>
                  </a:lnTo>
                  <a:lnTo>
                    <a:pt x="12" y="476"/>
                  </a:lnTo>
                  <a:lnTo>
                    <a:pt x="12" y="476"/>
                  </a:lnTo>
                  <a:lnTo>
                    <a:pt x="36" y="476"/>
                  </a:lnTo>
                  <a:lnTo>
                    <a:pt x="36" y="476"/>
                  </a:lnTo>
                  <a:lnTo>
                    <a:pt x="83" y="476"/>
                  </a:lnTo>
                  <a:lnTo>
                    <a:pt x="83" y="476"/>
                  </a:lnTo>
                  <a:lnTo>
                    <a:pt x="106" y="476"/>
                  </a:lnTo>
                  <a:lnTo>
                    <a:pt x="106" y="476"/>
                  </a:lnTo>
                  <a:lnTo>
                    <a:pt x="118" y="476"/>
                  </a:lnTo>
                  <a:lnTo>
                    <a:pt x="118" y="476"/>
                  </a:lnTo>
                  <a:lnTo>
                    <a:pt x="142" y="476"/>
                  </a:lnTo>
                  <a:lnTo>
                    <a:pt x="142" y="476"/>
                  </a:lnTo>
                  <a:lnTo>
                    <a:pt x="165" y="476"/>
                  </a:lnTo>
                  <a:lnTo>
                    <a:pt x="165" y="476"/>
                  </a:lnTo>
                  <a:lnTo>
                    <a:pt x="179" y="476"/>
                  </a:lnTo>
                  <a:lnTo>
                    <a:pt x="179" y="476"/>
                  </a:lnTo>
                  <a:lnTo>
                    <a:pt x="203" y="476"/>
                  </a:lnTo>
                  <a:lnTo>
                    <a:pt x="203" y="476"/>
                  </a:lnTo>
                  <a:lnTo>
                    <a:pt x="215" y="476"/>
                  </a:lnTo>
                  <a:lnTo>
                    <a:pt x="215" y="476"/>
                  </a:lnTo>
                  <a:lnTo>
                    <a:pt x="238" y="476"/>
                  </a:lnTo>
                  <a:lnTo>
                    <a:pt x="238" y="476"/>
                  </a:lnTo>
                  <a:lnTo>
                    <a:pt x="250" y="476"/>
                  </a:lnTo>
                  <a:lnTo>
                    <a:pt x="250" y="476"/>
                  </a:lnTo>
                  <a:lnTo>
                    <a:pt x="274" y="476"/>
                  </a:lnTo>
                  <a:lnTo>
                    <a:pt x="274" y="476"/>
                  </a:lnTo>
                  <a:lnTo>
                    <a:pt x="285" y="476"/>
                  </a:lnTo>
                  <a:lnTo>
                    <a:pt x="285" y="476"/>
                  </a:lnTo>
                  <a:lnTo>
                    <a:pt x="309" y="476"/>
                  </a:lnTo>
                  <a:lnTo>
                    <a:pt x="309" y="476"/>
                  </a:lnTo>
                  <a:lnTo>
                    <a:pt x="321" y="476"/>
                  </a:lnTo>
                  <a:lnTo>
                    <a:pt x="321" y="476"/>
                  </a:lnTo>
                  <a:lnTo>
                    <a:pt x="344" y="476"/>
                  </a:lnTo>
                  <a:lnTo>
                    <a:pt x="344" y="476"/>
                  </a:lnTo>
                  <a:lnTo>
                    <a:pt x="356" y="476"/>
                  </a:lnTo>
                  <a:lnTo>
                    <a:pt x="356" y="476"/>
                  </a:lnTo>
                  <a:lnTo>
                    <a:pt x="380" y="476"/>
                  </a:lnTo>
                  <a:lnTo>
                    <a:pt x="380" y="476"/>
                  </a:lnTo>
                  <a:lnTo>
                    <a:pt x="391" y="476"/>
                  </a:lnTo>
                  <a:lnTo>
                    <a:pt x="391" y="476"/>
                  </a:lnTo>
                  <a:lnTo>
                    <a:pt x="441" y="476"/>
                  </a:lnTo>
                  <a:lnTo>
                    <a:pt x="441" y="476"/>
                  </a:lnTo>
                  <a:lnTo>
                    <a:pt x="453" y="476"/>
                  </a:lnTo>
                  <a:lnTo>
                    <a:pt x="453" y="476"/>
                  </a:lnTo>
                  <a:lnTo>
                    <a:pt x="476" y="476"/>
                  </a:lnTo>
                  <a:lnTo>
                    <a:pt x="476" y="476"/>
                  </a:lnTo>
                  <a:lnTo>
                    <a:pt x="488" y="476"/>
                  </a:lnTo>
                  <a:lnTo>
                    <a:pt x="488" y="476"/>
                  </a:lnTo>
                  <a:lnTo>
                    <a:pt x="512" y="476"/>
                  </a:lnTo>
                  <a:lnTo>
                    <a:pt x="512" y="476"/>
                  </a:lnTo>
                  <a:lnTo>
                    <a:pt x="523" y="476"/>
                  </a:lnTo>
                  <a:lnTo>
                    <a:pt x="523" y="476"/>
                  </a:lnTo>
                  <a:lnTo>
                    <a:pt x="547" y="476"/>
                  </a:lnTo>
                  <a:lnTo>
                    <a:pt x="547" y="476"/>
                  </a:lnTo>
                  <a:lnTo>
                    <a:pt x="559" y="476"/>
                  </a:lnTo>
                  <a:lnTo>
                    <a:pt x="559" y="476"/>
                  </a:lnTo>
                  <a:lnTo>
                    <a:pt x="582" y="476"/>
                  </a:lnTo>
                  <a:lnTo>
                    <a:pt x="582" y="476"/>
                  </a:lnTo>
                  <a:lnTo>
                    <a:pt x="594" y="476"/>
                  </a:lnTo>
                  <a:lnTo>
                    <a:pt x="594" y="476"/>
                  </a:lnTo>
                  <a:lnTo>
                    <a:pt x="618" y="476"/>
                  </a:lnTo>
                  <a:lnTo>
                    <a:pt x="618" y="476"/>
                  </a:lnTo>
                  <a:lnTo>
                    <a:pt x="629" y="476"/>
                  </a:lnTo>
                  <a:lnTo>
                    <a:pt x="629" y="476"/>
                  </a:lnTo>
                  <a:lnTo>
                    <a:pt x="653" y="476"/>
                  </a:lnTo>
                  <a:lnTo>
                    <a:pt x="653" y="476"/>
                  </a:lnTo>
                  <a:lnTo>
                    <a:pt x="667" y="476"/>
                  </a:lnTo>
                  <a:lnTo>
                    <a:pt x="667" y="476"/>
                  </a:lnTo>
                  <a:lnTo>
                    <a:pt x="714" y="476"/>
                  </a:lnTo>
                  <a:lnTo>
                    <a:pt x="714" y="476"/>
                  </a:lnTo>
                  <a:lnTo>
                    <a:pt x="726" y="476"/>
                  </a:lnTo>
                  <a:lnTo>
                    <a:pt x="726" y="476"/>
                  </a:lnTo>
                  <a:lnTo>
                    <a:pt x="750" y="476"/>
                  </a:lnTo>
                  <a:lnTo>
                    <a:pt x="750" y="476"/>
                  </a:lnTo>
                  <a:lnTo>
                    <a:pt x="761" y="476"/>
                  </a:lnTo>
                  <a:lnTo>
                    <a:pt x="761" y="476"/>
                  </a:lnTo>
                  <a:lnTo>
                    <a:pt x="785" y="476"/>
                  </a:lnTo>
                  <a:lnTo>
                    <a:pt x="785" y="476"/>
                  </a:lnTo>
                  <a:lnTo>
                    <a:pt x="797" y="476"/>
                  </a:lnTo>
                  <a:lnTo>
                    <a:pt x="797" y="476"/>
                  </a:lnTo>
                  <a:lnTo>
                    <a:pt x="820" y="476"/>
                  </a:lnTo>
                  <a:lnTo>
                    <a:pt x="820" y="476"/>
                  </a:lnTo>
                  <a:lnTo>
                    <a:pt x="832" y="476"/>
                  </a:lnTo>
                  <a:lnTo>
                    <a:pt x="832" y="476"/>
                  </a:lnTo>
                  <a:lnTo>
                    <a:pt x="856" y="476"/>
                  </a:lnTo>
                  <a:lnTo>
                    <a:pt x="856" y="476"/>
                  </a:lnTo>
                  <a:lnTo>
                    <a:pt x="867" y="476"/>
                  </a:lnTo>
                  <a:lnTo>
                    <a:pt x="867" y="476"/>
                  </a:lnTo>
                  <a:lnTo>
                    <a:pt x="891" y="476"/>
                  </a:lnTo>
                  <a:lnTo>
                    <a:pt x="891" y="476"/>
                  </a:lnTo>
                  <a:lnTo>
                    <a:pt x="903" y="476"/>
                  </a:lnTo>
                  <a:lnTo>
                    <a:pt x="903" y="476"/>
                  </a:lnTo>
                  <a:lnTo>
                    <a:pt x="929" y="476"/>
                  </a:lnTo>
                  <a:lnTo>
                    <a:pt x="929" y="476"/>
                  </a:lnTo>
                  <a:lnTo>
                    <a:pt x="940" y="476"/>
                  </a:lnTo>
                  <a:lnTo>
                    <a:pt x="940" y="476"/>
                  </a:lnTo>
                  <a:lnTo>
                    <a:pt x="988" y="476"/>
                  </a:lnTo>
                  <a:lnTo>
                    <a:pt x="988" y="476"/>
                  </a:lnTo>
                  <a:lnTo>
                    <a:pt x="999" y="476"/>
                  </a:lnTo>
                  <a:lnTo>
                    <a:pt x="999" y="476"/>
                  </a:lnTo>
                  <a:lnTo>
                    <a:pt x="1023" y="476"/>
                  </a:lnTo>
                  <a:lnTo>
                    <a:pt x="1023" y="476"/>
                  </a:lnTo>
                  <a:lnTo>
                    <a:pt x="1035" y="476"/>
                  </a:lnTo>
                  <a:lnTo>
                    <a:pt x="1035" y="476"/>
                  </a:lnTo>
                  <a:lnTo>
                    <a:pt x="1058" y="476"/>
                  </a:lnTo>
                  <a:lnTo>
                    <a:pt x="1058" y="476"/>
                  </a:lnTo>
                  <a:lnTo>
                    <a:pt x="1070" y="476"/>
                  </a:lnTo>
                  <a:lnTo>
                    <a:pt x="1070" y="476"/>
                  </a:lnTo>
                  <a:lnTo>
                    <a:pt x="1094" y="476"/>
                  </a:lnTo>
                  <a:lnTo>
                    <a:pt x="1094" y="476"/>
                  </a:lnTo>
                  <a:lnTo>
                    <a:pt x="1105" y="476"/>
                  </a:lnTo>
                  <a:lnTo>
                    <a:pt x="1105" y="476"/>
                  </a:lnTo>
                  <a:lnTo>
                    <a:pt x="1129" y="476"/>
                  </a:lnTo>
                  <a:lnTo>
                    <a:pt x="1129" y="476"/>
                  </a:lnTo>
                  <a:lnTo>
                    <a:pt x="1141" y="476"/>
                  </a:lnTo>
                  <a:lnTo>
                    <a:pt x="1141" y="476"/>
                  </a:lnTo>
                  <a:lnTo>
                    <a:pt x="1167" y="476"/>
                  </a:lnTo>
                  <a:lnTo>
                    <a:pt x="1167" y="476"/>
                  </a:lnTo>
                  <a:lnTo>
                    <a:pt x="1178" y="476"/>
                  </a:lnTo>
                  <a:lnTo>
                    <a:pt x="1178" y="476"/>
                  </a:lnTo>
                  <a:lnTo>
                    <a:pt x="1202" y="476"/>
                  </a:lnTo>
                  <a:lnTo>
                    <a:pt x="1202" y="476"/>
                  </a:lnTo>
                  <a:lnTo>
                    <a:pt x="1214" y="476"/>
                  </a:lnTo>
                  <a:lnTo>
                    <a:pt x="1214" y="476"/>
                  </a:lnTo>
                  <a:lnTo>
                    <a:pt x="1261" y="476"/>
                  </a:lnTo>
                  <a:lnTo>
                    <a:pt x="1261" y="476"/>
                  </a:lnTo>
                  <a:lnTo>
                    <a:pt x="1273" y="476"/>
                  </a:lnTo>
                  <a:lnTo>
                    <a:pt x="1273" y="476"/>
                  </a:lnTo>
                  <a:lnTo>
                    <a:pt x="1296" y="476"/>
                  </a:lnTo>
                  <a:lnTo>
                    <a:pt x="1296" y="476"/>
                  </a:lnTo>
                  <a:lnTo>
                    <a:pt x="1308" y="476"/>
                  </a:lnTo>
                  <a:lnTo>
                    <a:pt x="1308" y="476"/>
                  </a:lnTo>
                  <a:lnTo>
                    <a:pt x="1332" y="476"/>
                  </a:lnTo>
                  <a:lnTo>
                    <a:pt x="1332" y="476"/>
                  </a:lnTo>
                  <a:lnTo>
                    <a:pt x="1343" y="476"/>
                  </a:lnTo>
                  <a:lnTo>
                    <a:pt x="1343" y="476"/>
                  </a:lnTo>
                  <a:lnTo>
                    <a:pt x="1367" y="476"/>
                  </a:lnTo>
                  <a:lnTo>
                    <a:pt x="1367" y="476"/>
                  </a:lnTo>
                  <a:lnTo>
                    <a:pt x="1379" y="476"/>
                  </a:lnTo>
                  <a:lnTo>
                    <a:pt x="1379" y="476"/>
                  </a:lnTo>
                  <a:lnTo>
                    <a:pt x="1405" y="476"/>
                  </a:lnTo>
                  <a:lnTo>
                    <a:pt x="1405" y="476"/>
                  </a:lnTo>
                  <a:lnTo>
                    <a:pt x="1416" y="476"/>
                  </a:lnTo>
                  <a:lnTo>
                    <a:pt x="1416" y="476"/>
                  </a:lnTo>
                  <a:lnTo>
                    <a:pt x="1440" y="476"/>
                  </a:lnTo>
                  <a:lnTo>
                    <a:pt x="1440" y="476"/>
                  </a:lnTo>
                  <a:lnTo>
                    <a:pt x="1452" y="476"/>
                  </a:lnTo>
                  <a:lnTo>
                    <a:pt x="1452" y="476"/>
                  </a:lnTo>
                  <a:lnTo>
                    <a:pt x="1475" y="476"/>
                  </a:lnTo>
                  <a:lnTo>
                    <a:pt x="1475" y="476"/>
                  </a:lnTo>
                  <a:lnTo>
                    <a:pt x="1487" y="476"/>
                  </a:lnTo>
                  <a:lnTo>
                    <a:pt x="1487" y="476"/>
                  </a:lnTo>
                  <a:lnTo>
                    <a:pt x="1534" y="476"/>
                  </a:lnTo>
                  <a:lnTo>
                    <a:pt x="1534" y="476"/>
                  </a:lnTo>
                  <a:lnTo>
                    <a:pt x="1546" y="476"/>
                  </a:lnTo>
                  <a:lnTo>
                    <a:pt x="1546" y="476"/>
                  </a:lnTo>
                  <a:lnTo>
                    <a:pt x="1570" y="476"/>
                  </a:lnTo>
                  <a:lnTo>
                    <a:pt x="1570" y="476"/>
                  </a:lnTo>
                  <a:lnTo>
                    <a:pt x="1581" y="476"/>
                  </a:lnTo>
                  <a:lnTo>
                    <a:pt x="1581" y="476"/>
                  </a:lnTo>
                  <a:lnTo>
                    <a:pt x="1605" y="476"/>
                  </a:lnTo>
                  <a:lnTo>
                    <a:pt x="1605" y="476"/>
                  </a:lnTo>
                  <a:lnTo>
                    <a:pt x="1617" y="476"/>
                  </a:lnTo>
                  <a:lnTo>
                    <a:pt x="1617" y="476"/>
                  </a:lnTo>
                  <a:lnTo>
                    <a:pt x="1643" y="476"/>
                  </a:lnTo>
                  <a:lnTo>
                    <a:pt x="1643" y="476"/>
                  </a:lnTo>
                  <a:lnTo>
                    <a:pt x="1654" y="476"/>
                  </a:lnTo>
                  <a:lnTo>
                    <a:pt x="1654" y="476"/>
                  </a:lnTo>
                  <a:lnTo>
                    <a:pt x="1678" y="476"/>
                  </a:lnTo>
                  <a:lnTo>
                    <a:pt x="1678" y="476"/>
                  </a:lnTo>
                  <a:lnTo>
                    <a:pt x="1690" y="476"/>
                  </a:lnTo>
                  <a:lnTo>
                    <a:pt x="1690" y="476"/>
                  </a:lnTo>
                  <a:lnTo>
                    <a:pt x="1713" y="476"/>
                  </a:lnTo>
                  <a:lnTo>
                    <a:pt x="1713" y="476"/>
                  </a:lnTo>
                  <a:lnTo>
                    <a:pt x="1725" y="476"/>
                  </a:lnTo>
                  <a:lnTo>
                    <a:pt x="1725" y="476"/>
                  </a:lnTo>
                  <a:lnTo>
                    <a:pt x="1749" y="476"/>
                  </a:lnTo>
                  <a:lnTo>
                    <a:pt x="1749" y="476"/>
                  </a:lnTo>
                  <a:lnTo>
                    <a:pt x="1760" y="476"/>
                  </a:lnTo>
                  <a:lnTo>
                    <a:pt x="1760" y="476"/>
                  </a:lnTo>
                  <a:lnTo>
                    <a:pt x="1808" y="476"/>
                  </a:lnTo>
                  <a:lnTo>
                    <a:pt x="1808" y="476"/>
                  </a:lnTo>
                  <a:lnTo>
                    <a:pt x="1819" y="476"/>
                  </a:lnTo>
                  <a:lnTo>
                    <a:pt x="1819" y="476"/>
                  </a:lnTo>
                  <a:lnTo>
                    <a:pt x="1843" y="476"/>
                  </a:lnTo>
                  <a:lnTo>
                    <a:pt x="1843" y="476"/>
                  </a:lnTo>
                  <a:lnTo>
                    <a:pt x="1855" y="476"/>
                  </a:lnTo>
                  <a:lnTo>
                    <a:pt x="1855" y="476"/>
                  </a:lnTo>
                  <a:lnTo>
                    <a:pt x="1878" y="476"/>
                  </a:lnTo>
                  <a:lnTo>
                    <a:pt x="1878" y="476"/>
                  </a:lnTo>
                  <a:lnTo>
                    <a:pt x="1892" y="476"/>
                  </a:lnTo>
                  <a:lnTo>
                    <a:pt x="1892" y="476"/>
                  </a:lnTo>
                  <a:lnTo>
                    <a:pt x="1916" y="476"/>
                  </a:lnTo>
                  <a:lnTo>
                    <a:pt x="1916" y="476"/>
                  </a:lnTo>
                  <a:lnTo>
                    <a:pt x="1928" y="476"/>
                  </a:lnTo>
                  <a:lnTo>
                    <a:pt x="1928" y="476"/>
                  </a:lnTo>
                  <a:lnTo>
                    <a:pt x="1951" y="476"/>
                  </a:lnTo>
                  <a:lnTo>
                    <a:pt x="1951" y="476"/>
                  </a:lnTo>
                  <a:lnTo>
                    <a:pt x="1963" y="476"/>
                  </a:lnTo>
                  <a:lnTo>
                    <a:pt x="1963" y="476"/>
                  </a:lnTo>
                  <a:lnTo>
                    <a:pt x="1987" y="476"/>
                  </a:lnTo>
                  <a:lnTo>
                    <a:pt x="1987" y="476"/>
                  </a:lnTo>
                  <a:lnTo>
                    <a:pt x="1998" y="476"/>
                  </a:lnTo>
                  <a:lnTo>
                    <a:pt x="1998" y="476"/>
                  </a:lnTo>
                  <a:lnTo>
                    <a:pt x="2022" y="476"/>
                  </a:lnTo>
                  <a:lnTo>
                    <a:pt x="2022" y="476"/>
                  </a:lnTo>
                  <a:lnTo>
                    <a:pt x="2034" y="476"/>
                  </a:lnTo>
                  <a:lnTo>
                    <a:pt x="2034" y="476"/>
                  </a:lnTo>
                  <a:lnTo>
                    <a:pt x="2081" y="476"/>
                  </a:lnTo>
                  <a:lnTo>
                    <a:pt x="2081" y="476"/>
                  </a:lnTo>
                  <a:lnTo>
                    <a:pt x="2093" y="476"/>
                  </a:lnTo>
                  <a:lnTo>
                    <a:pt x="2093" y="476"/>
                  </a:lnTo>
                  <a:lnTo>
                    <a:pt x="2116" y="476"/>
                  </a:lnTo>
                  <a:lnTo>
                    <a:pt x="2116" y="476"/>
                  </a:lnTo>
                  <a:lnTo>
                    <a:pt x="2130" y="476"/>
                  </a:lnTo>
                  <a:lnTo>
                    <a:pt x="2130" y="476"/>
                  </a:lnTo>
                  <a:lnTo>
                    <a:pt x="2154" y="476"/>
                  </a:lnTo>
                  <a:lnTo>
                    <a:pt x="2154" y="476"/>
                  </a:lnTo>
                  <a:lnTo>
                    <a:pt x="2166" y="476"/>
                  </a:lnTo>
                  <a:lnTo>
                    <a:pt x="2166" y="476"/>
                  </a:lnTo>
                  <a:lnTo>
                    <a:pt x="2189" y="476"/>
                  </a:lnTo>
                  <a:lnTo>
                    <a:pt x="2189" y="476"/>
                  </a:lnTo>
                  <a:lnTo>
                    <a:pt x="2201" y="476"/>
                  </a:lnTo>
                  <a:lnTo>
                    <a:pt x="2201" y="476"/>
                  </a:lnTo>
                  <a:lnTo>
                    <a:pt x="2225" y="476"/>
                  </a:lnTo>
                  <a:lnTo>
                    <a:pt x="2225" y="476"/>
                  </a:lnTo>
                  <a:lnTo>
                    <a:pt x="2236" y="476"/>
                  </a:lnTo>
                  <a:lnTo>
                    <a:pt x="2236" y="476"/>
                  </a:lnTo>
                  <a:lnTo>
                    <a:pt x="2260" y="476"/>
                  </a:lnTo>
                  <a:lnTo>
                    <a:pt x="2260" y="476"/>
                  </a:lnTo>
                  <a:lnTo>
                    <a:pt x="2272" y="476"/>
                  </a:lnTo>
                  <a:lnTo>
                    <a:pt x="2272" y="476"/>
                  </a:lnTo>
                  <a:lnTo>
                    <a:pt x="2295" y="476"/>
                  </a:lnTo>
                  <a:lnTo>
                    <a:pt x="2295" y="476"/>
                  </a:lnTo>
                  <a:lnTo>
                    <a:pt x="2307" y="476"/>
                  </a:lnTo>
                  <a:lnTo>
                    <a:pt x="2307" y="476"/>
                  </a:lnTo>
                  <a:lnTo>
                    <a:pt x="2331" y="476"/>
                  </a:lnTo>
                  <a:lnTo>
                    <a:pt x="2331" y="22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30"/>
            <p:cNvSpPr>
              <a:spLocks/>
            </p:cNvSpPr>
            <p:nvPr/>
          </p:nvSpPr>
          <p:spPr bwMode="auto">
            <a:xfrm flipH="1">
              <a:off x="5410516" y="3194420"/>
              <a:ext cx="2948463" cy="602088"/>
            </a:xfrm>
            <a:custGeom>
              <a:avLst/>
              <a:gdLst>
                <a:gd name="T0" fmla="*/ 2260 w 2331"/>
                <a:gd name="T1" fmla="*/ 262 h 476"/>
                <a:gd name="T2" fmla="*/ 2236 w 2331"/>
                <a:gd name="T3" fmla="*/ 273 h 476"/>
                <a:gd name="T4" fmla="*/ 2177 w 2331"/>
                <a:gd name="T5" fmla="*/ 273 h 476"/>
                <a:gd name="T6" fmla="*/ 2135 w 2331"/>
                <a:gd name="T7" fmla="*/ 238 h 476"/>
                <a:gd name="T8" fmla="*/ 2104 w 2331"/>
                <a:gd name="T9" fmla="*/ 285 h 476"/>
                <a:gd name="T10" fmla="*/ 2076 w 2331"/>
                <a:gd name="T11" fmla="*/ 285 h 476"/>
                <a:gd name="T12" fmla="*/ 2053 w 2331"/>
                <a:gd name="T13" fmla="*/ 297 h 476"/>
                <a:gd name="T14" fmla="*/ 1998 w 2331"/>
                <a:gd name="T15" fmla="*/ 320 h 476"/>
                <a:gd name="T16" fmla="*/ 1951 w 2331"/>
                <a:gd name="T17" fmla="*/ 179 h 476"/>
                <a:gd name="T18" fmla="*/ 1904 w 2331"/>
                <a:gd name="T19" fmla="*/ 153 h 476"/>
                <a:gd name="T20" fmla="*/ 1796 w 2331"/>
                <a:gd name="T21" fmla="*/ 262 h 476"/>
                <a:gd name="T22" fmla="*/ 1737 w 2331"/>
                <a:gd name="T23" fmla="*/ 285 h 476"/>
                <a:gd name="T24" fmla="*/ 1702 w 2331"/>
                <a:gd name="T25" fmla="*/ 262 h 476"/>
                <a:gd name="T26" fmla="*/ 1654 w 2331"/>
                <a:gd name="T27" fmla="*/ 231 h 476"/>
                <a:gd name="T28" fmla="*/ 1628 w 2331"/>
                <a:gd name="T29" fmla="*/ 273 h 476"/>
                <a:gd name="T30" fmla="*/ 1581 w 2331"/>
                <a:gd name="T31" fmla="*/ 250 h 476"/>
                <a:gd name="T32" fmla="*/ 1570 w 2331"/>
                <a:gd name="T33" fmla="*/ 141 h 476"/>
                <a:gd name="T34" fmla="*/ 1534 w 2331"/>
                <a:gd name="T35" fmla="*/ 141 h 476"/>
                <a:gd name="T36" fmla="*/ 1499 w 2331"/>
                <a:gd name="T37" fmla="*/ 184 h 476"/>
                <a:gd name="T38" fmla="*/ 1475 w 2331"/>
                <a:gd name="T39" fmla="*/ 285 h 476"/>
                <a:gd name="T40" fmla="*/ 1428 w 2331"/>
                <a:gd name="T41" fmla="*/ 297 h 476"/>
                <a:gd name="T42" fmla="*/ 1428 w 2331"/>
                <a:gd name="T43" fmla="*/ 118 h 476"/>
                <a:gd name="T44" fmla="*/ 1355 w 2331"/>
                <a:gd name="T45" fmla="*/ 106 h 476"/>
                <a:gd name="T46" fmla="*/ 1343 w 2331"/>
                <a:gd name="T47" fmla="*/ 214 h 476"/>
                <a:gd name="T48" fmla="*/ 1320 w 2331"/>
                <a:gd name="T49" fmla="*/ 309 h 476"/>
                <a:gd name="T50" fmla="*/ 1296 w 2331"/>
                <a:gd name="T51" fmla="*/ 356 h 476"/>
                <a:gd name="T52" fmla="*/ 1280 w 2331"/>
                <a:gd name="T53" fmla="*/ 297 h 476"/>
                <a:gd name="T54" fmla="*/ 1237 w 2331"/>
                <a:gd name="T55" fmla="*/ 273 h 476"/>
                <a:gd name="T56" fmla="*/ 1195 w 2331"/>
                <a:gd name="T57" fmla="*/ 297 h 476"/>
                <a:gd name="T58" fmla="*/ 1171 w 2331"/>
                <a:gd name="T59" fmla="*/ 344 h 476"/>
                <a:gd name="T60" fmla="*/ 1141 w 2331"/>
                <a:gd name="T61" fmla="*/ 297 h 476"/>
                <a:gd name="T62" fmla="*/ 1105 w 2331"/>
                <a:gd name="T63" fmla="*/ 273 h 476"/>
                <a:gd name="T64" fmla="*/ 952 w 2331"/>
                <a:gd name="T65" fmla="*/ 344 h 476"/>
                <a:gd name="T66" fmla="*/ 903 w 2331"/>
                <a:gd name="T67" fmla="*/ 262 h 476"/>
                <a:gd name="T68" fmla="*/ 856 w 2331"/>
                <a:gd name="T69" fmla="*/ 59 h 476"/>
                <a:gd name="T70" fmla="*/ 750 w 2331"/>
                <a:gd name="T71" fmla="*/ 35 h 476"/>
                <a:gd name="T72" fmla="*/ 738 w 2331"/>
                <a:gd name="T73" fmla="*/ 141 h 476"/>
                <a:gd name="T74" fmla="*/ 726 w 2331"/>
                <a:gd name="T75" fmla="*/ 278 h 476"/>
                <a:gd name="T76" fmla="*/ 667 w 2331"/>
                <a:gd name="T77" fmla="*/ 273 h 476"/>
                <a:gd name="T78" fmla="*/ 618 w 2331"/>
                <a:gd name="T79" fmla="*/ 297 h 476"/>
                <a:gd name="T80" fmla="*/ 559 w 2331"/>
                <a:gd name="T81" fmla="*/ 320 h 476"/>
                <a:gd name="T82" fmla="*/ 523 w 2331"/>
                <a:gd name="T83" fmla="*/ 344 h 476"/>
                <a:gd name="T84" fmla="*/ 429 w 2331"/>
                <a:gd name="T85" fmla="*/ 339 h 476"/>
                <a:gd name="T86" fmla="*/ 380 w 2331"/>
                <a:gd name="T87" fmla="*/ 356 h 476"/>
                <a:gd name="T88" fmla="*/ 250 w 2331"/>
                <a:gd name="T89" fmla="*/ 356 h 476"/>
                <a:gd name="T90" fmla="*/ 179 w 2331"/>
                <a:gd name="T91" fmla="*/ 356 h 476"/>
                <a:gd name="T92" fmla="*/ 0 w 2331"/>
                <a:gd name="T93" fmla="*/ 415 h 476"/>
                <a:gd name="T94" fmla="*/ 142 w 2331"/>
                <a:gd name="T95" fmla="*/ 476 h 476"/>
                <a:gd name="T96" fmla="*/ 309 w 2331"/>
                <a:gd name="T97" fmla="*/ 476 h 476"/>
                <a:gd name="T98" fmla="*/ 488 w 2331"/>
                <a:gd name="T99" fmla="*/ 476 h 476"/>
                <a:gd name="T100" fmla="*/ 653 w 2331"/>
                <a:gd name="T101" fmla="*/ 476 h 476"/>
                <a:gd name="T102" fmla="*/ 832 w 2331"/>
                <a:gd name="T103" fmla="*/ 476 h 476"/>
                <a:gd name="T104" fmla="*/ 1023 w 2331"/>
                <a:gd name="T105" fmla="*/ 476 h 476"/>
                <a:gd name="T106" fmla="*/ 1178 w 2331"/>
                <a:gd name="T107" fmla="*/ 476 h 476"/>
                <a:gd name="T108" fmla="*/ 1367 w 2331"/>
                <a:gd name="T109" fmla="*/ 476 h 476"/>
                <a:gd name="T110" fmla="*/ 1546 w 2331"/>
                <a:gd name="T111" fmla="*/ 476 h 476"/>
                <a:gd name="T112" fmla="*/ 1713 w 2331"/>
                <a:gd name="T113" fmla="*/ 476 h 476"/>
                <a:gd name="T114" fmla="*/ 1892 w 2331"/>
                <a:gd name="T115" fmla="*/ 476 h 476"/>
                <a:gd name="T116" fmla="*/ 2081 w 2331"/>
                <a:gd name="T117" fmla="*/ 476 h 476"/>
                <a:gd name="T118" fmla="*/ 2236 w 2331"/>
                <a:gd name="T119"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31" h="476">
                  <a:moveTo>
                    <a:pt x="2331" y="226"/>
                  </a:moveTo>
                  <a:lnTo>
                    <a:pt x="2331" y="226"/>
                  </a:lnTo>
                  <a:lnTo>
                    <a:pt x="2295" y="226"/>
                  </a:lnTo>
                  <a:lnTo>
                    <a:pt x="2295" y="226"/>
                  </a:lnTo>
                  <a:lnTo>
                    <a:pt x="2283" y="226"/>
                  </a:lnTo>
                  <a:lnTo>
                    <a:pt x="2283" y="226"/>
                  </a:lnTo>
                  <a:lnTo>
                    <a:pt x="2272" y="226"/>
                  </a:lnTo>
                  <a:lnTo>
                    <a:pt x="2272" y="226"/>
                  </a:lnTo>
                  <a:lnTo>
                    <a:pt x="2272" y="231"/>
                  </a:lnTo>
                  <a:lnTo>
                    <a:pt x="2272" y="238"/>
                  </a:lnTo>
                  <a:lnTo>
                    <a:pt x="2272" y="238"/>
                  </a:lnTo>
                  <a:lnTo>
                    <a:pt x="2267" y="238"/>
                  </a:lnTo>
                  <a:lnTo>
                    <a:pt x="2262" y="236"/>
                  </a:lnTo>
                  <a:lnTo>
                    <a:pt x="2260" y="238"/>
                  </a:lnTo>
                  <a:lnTo>
                    <a:pt x="2260" y="238"/>
                  </a:lnTo>
                  <a:lnTo>
                    <a:pt x="2260" y="250"/>
                  </a:lnTo>
                  <a:lnTo>
                    <a:pt x="2260" y="250"/>
                  </a:lnTo>
                  <a:lnTo>
                    <a:pt x="2260" y="262"/>
                  </a:lnTo>
                  <a:lnTo>
                    <a:pt x="2260" y="262"/>
                  </a:lnTo>
                  <a:lnTo>
                    <a:pt x="2260" y="273"/>
                  </a:lnTo>
                  <a:lnTo>
                    <a:pt x="2260" y="273"/>
                  </a:lnTo>
                  <a:lnTo>
                    <a:pt x="2260" y="297"/>
                  </a:lnTo>
                  <a:lnTo>
                    <a:pt x="2260" y="297"/>
                  </a:lnTo>
                  <a:lnTo>
                    <a:pt x="2260" y="344"/>
                  </a:lnTo>
                  <a:lnTo>
                    <a:pt x="2260" y="344"/>
                  </a:lnTo>
                  <a:lnTo>
                    <a:pt x="2248" y="344"/>
                  </a:lnTo>
                  <a:lnTo>
                    <a:pt x="2248" y="344"/>
                  </a:lnTo>
                  <a:lnTo>
                    <a:pt x="2241" y="344"/>
                  </a:lnTo>
                  <a:lnTo>
                    <a:pt x="2236" y="344"/>
                  </a:lnTo>
                  <a:lnTo>
                    <a:pt x="2236" y="344"/>
                  </a:lnTo>
                  <a:lnTo>
                    <a:pt x="2236" y="332"/>
                  </a:lnTo>
                  <a:lnTo>
                    <a:pt x="2236" y="332"/>
                  </a:lnTo>
                  <a:lnTo>
                    <a:pt x="2236" y="320"/>
                  </a:lnTo>
                  <a:lnTo>
                    <a:pt x="2236" y="320"/>
                  </a:lnTo>
                  <a:lnTo>
                    <a:pt x="2236" y="273"/>
                  </a:lnTo>
                  <a:lnTo>
                    <a:pt x="2236" y="273"/>
                  </a:lnTo>
                  <a:lnTo>
                    <a:pt x="2225" y="273"/>
                  </a:lnTo>
                  <a:lnTo>
                    <a:pt x="2225" y="273"/>
                  </a:lnTo>
                  <a:lnTo>
                    <a:pt x="2213" y="273"/>
                  </a:lnTo>
                  <a:lnTo>
                    <a:pt x="2213" y="273"/>
                  </a:lnTo>
                  <a:lnTo>
                    <a:pt x="2201" y="273"/>
                  </a:lnTo>
                  <a:lnTo>
                    <a:pt x="2201" y="273"/>
                  </a:lnTo>
                  <a:lnTo>
                    <a:pt x="2194" y="273"/>
                  </a:lnTo>
                  <a:lnTo>
                    <a:pt x="2189" y="273"/>
                  </a:lnTo>
                  <a:lnTo>
                    <a:pt x="2189" y="273"/>
                  </a:lnTo>
                  <a:lnTo>
                    <a:pt x="2189" y="278"/>
                  </a:lnTo>
                  <a:lnTo>
                    <a:pt x="2189" y="285"/>
                  </a:lnTo>
                  <a:lnTo>
                    <a:pt x="2189" y="285"/>
                  </a:lnTo>
                  <a:lnTo>
                    <a:pt x="2187" y="285"/>
                  </a:lnTo>
                  <a:lnTo>
                    <a:pt x="2182" y="285"/>
                  </a:lnTo>
                  <a:lnTo>
                    <a:pt x="2177" y="285"/>
                  </a:lnTo>
                  <a:lnTo>
                    <a:pt x="2177" y="285"/>
                  </a:lnTo>
                  <a:lnTo>
                    <a:pt x="2177" y="273"/>
                  </a:lnTo>
                  <a:lnTo>
                    <a:pt x="2177" y="273"/>
                  </a:lnTo>
                  <a:lnTo>
                    <a:pt x="2177" y="262"/>
                  </a:lnTo>
                  <a:lnTo>
                    <a:pt x="2177" y="262"/>
                  </a:lnTo>
                  <a:lnTo>
                    <a:pt x="2177" y="255"/>
                  </a:lnTo>
                  <a:lnTo>
                    <a:pt x="2177" y="250"/>
                  </a:lnTo>
                  <a:lnTo>
                    <a:pt x="2177" y="250"/>
                  </a:lnTo>
                  <a:lnTo>
                    <a:pt x="2170" y="250"/>
                  </a:lnTo>
                  <a:lnTo>
                    <a:pt x="2166" y="250"/>
                  </a:lnTo>
                  <a:lnTo>
                    <a:pt x="2166" y="250"/>
                  </a:lnTo>
                  <a:lnTo>
                    <a:pt x="2166" y="243"/>
                  </a:lnTo>
                  <a:lnTo>
                    <a:pt x="2166" y="238"/>
                  </a:lnTo>
                  <a:lnTo>
                    <a:pt x="2166" y="238"/>
                  </a:lnTo>
                  <a:lnTo>
                    <a:pt x="2163" y="236"/>
                  </a:lnTo>
                  <a:lnTo>
                    <a:pt x="2159" y="238"/>
                  </a:lnTo>
                  <a:lnTo>
                    <a:pt x="2154" y="238"/>
                  </a:lnTo>
                  <a:lnTo>
                    <a:pt x="2154" y="238"/>
                  </a:lnTo>
                  <a:lnTo>
                    <a:pt x="2142" y="238"/>
                  </a:lnTo>
                  <a:lnTo>
                    <a:pt x="2142" y="238"/>
                  </a:lnTo>
                  <a:lnTo>
                    <a:pt x="2135" y="238"/>
                  </a:lnTo>
                  <a:lnTo>
                    <a:pt x="2130" y="238"/>
                  </a:lnTo>
                  <a:lnTo>
                    <a:pt x="2130" y="238"/>
                  </a:lnTo>
                  <a:lnTo>
                    <a:pt x="2128" y="240"/>
                  </a:lnTo>
                  <a:lnTo>
                    <a:pt x="2128" y="243"/>
                  </a:lnTo>
                  <a:lnTo>
                    <a:pt x="2130" y="250"/>
                  </a:lnTo>
                  <a:lnTo>
                    <a:pt x="2130" y="250"/>
                  </a:lnTo>
                  <a:lnTo>
                    <a:pt x="2116" y="250"/>
                  </a:lnTo>
                  <a:lnTo>
                    <a:pt x="2116" y="250"/>
                  </a:lnTo>
                  <a:lnTo>
                    <a:pt x="2111" y="250"/>
                  </a:lnTo>
                  <a:lnTo>
                    <a:pt x="2104" y="250"/>
                  </a:lnTo>
                  <a:lnTo>
                    <a:pt x="2104" y="250"/>
                  </a:lnTo>
                  <a:lnTo>
                    <a:pt x="2104" y="255"/>
                  </a:lnTo>
                  <a:lnTo>
                    <a:pt x="2104" y="262"/>
                  </a:lnTo>
                  <a:lnTo>
                    <a:pt x="2104" y="262"/>
                  </a:lnTo>
                  <a:lnTo>
                    <a:pt x="2104" y="266"/>
                  </a:lnTo>
                  <a:lnTo>
                    <a:pt x="2104" y="273"/>
                  </a:lnTo>
                  <a:lnTo>
                    <a:pt x="2104" y="273"/>
                  </a:lnTo>
                  <a:lnTo>
                    <a:pt x="2104" y="285"/>
                  </a:lnTo>
                  <a:lnTo>
                    <a:pt x="2104" y="285"/>
                  </a:lnTo>
                  <a:lnTo>
                    <a:pt x="2104" y="309"/>
                  </a:lnTo>
                  <a:lnTo>
                    <a:pt x="2104" y="309"/>
                  </a:lnTo>
                  <a:lnTo>
                    <a:pt x="2100" y="309"/>
                  </a:lnTo>
                  <a:lnTo>
                    <a:pt x="2093" y="309"/>
                  </a:lnTo>
                  <a:lnTo>
                    <a:pt x="2093" y="309"/>
                  </a:lnTo>
                  <a:lnTo>
                    <a:pt x="2093" y="304"/>
                  </a:lnTo>
                  <a:lnTo>
                    <a:pt x="2093" y="297"/>
                  </a:lnTo>
                  <a:lnTo>
                    <a:pt x="2093" y="297"/>
                  </a:lnTo>
                  <a:lnTo>
                    <a:pt x="2088" y="297"/>
                  </a:lnTo>
                  <a:lnTo>
                    <a:pt x="2081" y="297"/>
                  </a:lnTo>
                  <a:lnTo>
                    <a:pt x="2081" y="297"/>
                  </a:lnTo>
                  <a:lnTo>
                    <a:pt x="2081" y="295"/>
                  </a:lnTo>
                  <a:lnTo>
                    <a:pt x="2081" y="292"/>
                  </a:lnTo>
                  <a:lnTo>
                    <a:pt x="2081" y="285"/>
                  </a:lnTo>
                  <a:lnTo>
                    <a:pt x="2081" y="285"/>
                  </a:lnTo>
                  <a:lnTo>
                    <a:pt x="2078" y="285"/>
                  </a:lnTo>
                  <a:lnTo>
                    <a:pt x="2076" y="285"/>
                  </a:lnTo>
                  <a:lnTo>
                    <a:pt x="2069" y="285"/>
                  </a:lnTo>
                  <a:lnTo>
                    <a:pt x="2069" y="285"/>
                  </a:lnTo>
                  <a:lnTo>
                    <a:pt x="2069" y="283"/>
                  </a:lnTo>
                  <a:lnTo>
                    <a:pt x="2069" y="278"/>
                  </a:lnTo>
                  <a:lnTo>
                    <a:pt x="2069" y="273"/>
                  </a:lnTo>
                  <a:lnTo>
                    <a:pt x="2069" y="273"/>
                  </a:lnTo>
                  <a:lnTo>
                    <a:pt x="2069" y="266"/>
                  </a:lnTo>
                  <a:lnTo>
                    <a:pt x="2071" y="264"/>
                  </a:lnTo>
                  <a:lnTo>
                    <a:pt x="2069" y="262"/>
                  </a:lnTo>
                  <a:lnTo>
                    <a:pt x="2069" y="262"/>
                  </a:lnTo>
                  <a:lnTo>
                    <a:pt x="2057" y="262"/>
                  </a:lnTo>
                  <a:lnTo>
                    <a:pt x="2057" y="262"/>
                  </a:lnTo>
                  <a:lnTo>
                    <a:pt x="2057" y="266"/>
                  </a:lnTo>
                  <a:lnTo>
                    <a:pt x="2057" y="273"/>
                  </a:lnTo>
                  <a:lnTo>
                    <a:pt x="2057" y="273"/>
                  </a:lnTo>
                  <a:lnTo>
                    <a:pt x="2057" y="297"/>
                  </a:lnTo>
                  <a:lnTo>
                    <a:pt x="2057" y="297"/>
                  </a:lnTo>
                  <a:lnTo>
                    <a:pt x="2053" y="297"/>
                  </a:lnTo>
                  <a:lnTo>
                    <a:pt x="2048" y="297"/>
                  </a:lnTo>
                  <a:lnTo>
                    <a:pt x="2046" y="297"/>
                  </a:lnTo>
                  <a:lnTo>
                    <a:pt x="2046" y="297"/>
                  </a:lnTo>
                  <a:lnTo>
                    <a:pt x="2046" y="304"/>
                  </a:lnTo>
                  <a:lnTo>
                    <a:pt x="2046" y="309"/>
                  </a:lnTo>
                  <a:lnTo>
                    <a:pt x="2046" y="309"/>
                  </a:lnTo>
                  <a:lnTo>
                    <a:pt x="2041" y="309"/>
                  </a:lnTo>
                  <a:lnTo>
                    <a:pt x="2034" y="309"/>
                  </a:lnTo>
                  <a:lnTo>
                    <a:pt x="2034" y="309"/>
                  </a:lnTo>
                  <a:lnTo>
                    <a:pt x="2027" y="309"/>
                  </a:lnTo>
                  <a:lnTo>
                    <a:pt x="2022" y="309"/>
                  </a:lnTo>
                  <a:lnTo>
                    <a:pt x="2022" y="309"/>
                  </a:lnTo>
                  <a:lnTo>
                    <a:pt x="2022" y="311"/>
                  </a:lnTo>
                  <a:lnTo>
                    <a:pt x="2022" y="316"/>
                  </a:lnTo>
                  <a:lnTo>
                    <a:pt x="2022" y="320"/>
                  </a:lnTo>
                  <a:lnTo>
                    <a:pt x="2022" y="320"/>
                  </a:lnTo>
                  <a:lnTo>
                    <a:pt x="1998" y="320"/>
                  </a:lnTo>
                  <a:lnTo>
                    <a:pt x="1998" y="320"/>
                  </a:lnTo>
                  <a:lnTo>
                    <a:pt x="1951" y="320"/>
                  </a:lnTo>
                  <a:lnTo>
                    <a:pt x="1951" y="320"/>
                  </a:lnTo>
                  <a:lnTo>
                    <a:pt x="1951" y="309"/>
                  </a:lnTo>
                  <a:lnTo>
                    <a:pt x="1951" y="309"/>
                  </a:lnTo>
                  <a:lnTo>
                    <a:pt x="1951" y="285"/>
                  </a:lnTo>
                  <a:lnTo>
                    <a:pt x="1951" y="285"/>
                  </a:lnTo>
                  <a:lnTo>
                    <a:pt x="1951" y="273"/>
                  </a:lnTo>
                  <a:lnTo>
                    <a:pt x="1951" y="273"/>
                  </a:lnTo>
                  <a:lnTo>
                    <a:pt x="1951" y="250"/>
                  </a:lnTo>
                  <a:lnTo>
                    <a:pt x="1951" y="250"/>
                  </a:lnTo>
                  <a:lnTo>
                    <a:pt x="1951" y="238"/>
                  </a:lnTo>
                  <a:lnTo>
                    <a:pt x="1951" y="238"/>
                  </a:lnTo>
                  <a:lnTo>
                    <a:pt x="1951" y="214"/>
                  </a:lnTo>
                  <a:lnTo>
                    <a:pt x="1951" y="214"/>
                  </a:lnTo>
                  <a:lnTo>
                    <a:pt x="1951" y="203"/>
                  </a:lnTo>
                  <a:lnTo>
                    <a:pt x="1951" y="203"/>
                  </a:lnTo>
                  <a:lnTo>
                    <a:pt x="1951" y="179"/>
                  </a:lnTo>
                  <a:lnTo>
                    <a:pt x="1951" y="179"/>
                  </a:lnTo>
                  <a:lnTo>
                    <a:pt x="1951" y="153"/>
                  </a:lnTo>
                  <a:lnTo>
                    <a:pt x="1951" y="153"/>
                  </a:lnTo>
                  <a:lnTo>
                    <a:pt x="1944" y="153"/>
                  </a:lnTo>
                  <a:lnTo>
                    <a:pt x="1942" y="156"/>
                  </a:lnTo>
                  <a:lnTo>
                    <a:pt x="1939" y="153"/>
                  </a:lnTo>
                  <a:lnTo>
                    <a:pt x="1939" y="153"/>
                  </a:lnTo>
                  <a:lnTo>
                    <a:pt x="1939" y="148"/>
                  </a:lnTo>
                  <a:lnTo>
                    <a:pt x="1939" y="141"/>
                  </a:lnTo>
                  <a:lnTo>
                    <a:pt x="1939" y="141"/>
                  </a:lnTo>
                  <a:lnTo>
                    <a:pt x="1932" y="141"/>
                  </a:lnTo>
                  <a:lnTo>
                    <a:pt x="1928" y="141"/>
                  </a:lnTo>
                  <a:lnTo>
                    <a:pt x="1928" y="141"/>
                  </a:lnTo>
                  <a:lnTo>
                    <a:pt x="1916" y="141"/>
                  </a:lnTo>
                  <a:lnTo>
                    <a:pt x="1916" y="141"/>
                  </a:lnTo>
                  <a:lnTo>
                    <a:pt x="1904" y="141"/>
                  </a:lnTo>
                  <a:lnTo>
                    <a:pt x="1904" y="141"/>
                  </a:lnTo>
                  <a:lnTo>
                    <a:pt x="1904" y="148"/>
                  </a:lnTo>
                  <a:lnTo>
                    <a:pt x="1904" y="153"/>
                  </a:lnTo>
                  <a:lnTo>
                    <a:pt x="1904" y="153"/>
                  </a:lnTo>
                  <a:lnTo>
                    <a:pt x="1892" y="153"/>
                  </a:lnTo>
                  <a:lnTo>
                    <a:pt x="1892" y="153"/>
                  </a:lnTo>
                  <a:lnTo>
                    <a:pt x="1878" y="153"/>
                  </a:lnTo>
                  <a:lnTo>
                    <a:pt x="1878" y="153"/>
                  </a:lnTo>
                  <a:lnTo>
                    <a:pt x="1866" y="153"/>
                  </a:lnTo>
                  <a:lnTo>
                    <a:pt x="1866" y="153"/>
                  </a:lnTo>
                  <a:lnTo>
                    <a:pt x="1843" y="153"/>
                  </a:lnTo>
                  <a:lnTo>
                    <a:pt x="1843" y="153"/>
                  </a:lnTo>
                  <a:lnTo>
                    <a:pt x="1796" y="153"/>
                  </a:lnTo>
                  <a:lnTo>
                    <a:pt x="1796" y="153"/>
                  </a:lnTo>
                  <a:lnTo>
                    <a:pt x="1796" y="165"/>
                  </a:lnTo>
                  <a:lnTo>
                    <a:pt x="1796" y="165"/>
                  </a:lnTo>
                  <a:lnTo>
                    <a:pt x="1796" y="191"/>
                  </a:lnTo>
                  <a:lnTo>
                    <a:pt x="1796" y="191"/>
                  </a:lnTo>
                  <a:lnTo>
                    <a:pt x="1796" y="238"/>
                  </a:lnTo>
                  <a:lnTo>
                    <a:pt x="1796" y="238"/>
                  </a:lnTo>
                  <a:lnTo>
                    <a:pt x="1796" y="262"/>
                  </a:lnTo>
                  <a:lnTo>
                    <a:pt x="1796" y="262"/>
                  </a:lnTo>
                  <a:lnTo>
                    <a:pt x="1796" y="273"/>
                  </a:lnTo>
                  <a:lnTo>
                    <a:pt x="1796" y="273"/>
                  </a:lnTo>
                  <a:lnTo>
                    <a:pt x="1796" y="297"/>
                  </a:lnTo>
                  <a:lnTo>
                    <a:pt x="1796" y="297"/>
                  </a:lnTo>
                  <a:lnTo>
                    <a:pt x="1784" y="297"/>
                  </a:lnTo>
                  <a:lnTo>
                    <a:pt x="1784" y="297"/>
                  </a:lnTo>
                  <a:lnTo>
                    <a:pt x="1760" y="297"/>
                  </a:lnTo>
                  <a:lnTo>
                    <a:pt x="1760" y="297"/>
                  </a:lnTo>
                  <a:lnTo>
                    <a:pt x="1760" y="290"/>
                  </a:lnTo>
                  <a:lnTo>
                    <a:pt x="1760" y="287"/>
                  </a:lnTo>
                  <a:lnTo>
                    <a:pt x="1760" y="285"/>
                  </a:lnTo>
                  <a:lnTo>
                    <a:pt x="1760" y="285"/>
                  </a:lnTo>
                  <a:lnTo>
                    <a:pt x="1756" y="285"/>
                  </a:lnTo>
                  <a:lnTo>
                    <a:pt x="1749" y="285"/>
                  </a:lnTo>
                  <a:lnTo>
                    <a:pt x="1749" y="285"/>
                  </a:lnTo>
                  <a:lnTo>
                    <a:pt x="1737" y="285"/>
                  </a:lnTo>
                  <a:lnTo>
                    <a:pt x="1737" y="285"/>
                  </a:lnTo>
                  <a:lnTo>
                    <a:pt x="1725" y="285"/>
                  </a:lnTo>
                  <a:lnTo>
                    <a:pt x="1725" y="285"/>
                  </a:lnTo>
                  <a:lnTo>
                    <a:pt x="1725" y="278"/>
                  </a:lnTo>
                  <a:lnTo>
                    <a:pt x="1725" y="276"/>
                  </a:lnTo>
                  <a:lnTo>
                    <a:pt x="1725" y="273"/>
                  </a:lnTo>
                  <a:lnTo>
                    <a:pt x="1725" y="273"/>
                  </a:lnTo>
                  <a:lnTo>
                    <a:pt x="1723" y="273"/>
                  </a:lnTo>
                  <a:lnTo>
                    <a:pt x="1718" y="273"/>
                  </a:lnTo>
                  <a:lnTo>
                    <a:pt x="1713" y="273"/>
                  </a:lnTo>
                  <a:lnTo>
                    <a:pt x="1713" y="273"/>
                  </a:lnTo>
                  <a:lnTo>
                    <a:pt x="1706" y="273"/>
                  </a:lnTo>
                  <a:lnTo>
                    <a:pt x="1704" y="273"/>
                  </a:lnTo>
                  <a:lnTo>
                    <a:pt x="1702" y="273"/>
                  </a:lnTo>
                  <a:lnTo>
                    <a:pt x="1702" y="273"/>
                  </a:lnTo>
                  <a:lnTo>
                    <a:pt x="1699" y="271"/>
                  </a:lnTo>
                  <a:lnTo>
                    <a:pt x="1702" y="266"/>
                  </a:lnTo>
                  <a:lnTo>
                    <a:pt x="1702" y="262"/>
                  </a:lnTo>
                  <a:lnTo>
                    <a:pt x="1702" y="262"/>
                  </a:lnTo>
                  <a:lnTo>
                    <a:pt x="1702" y="255"/>
                  </a:lnTo>
                  <a:lnTo>
                    <a:pt x="1702" y="250"/>
                  </a:lnTo>
                  <a:lnTo>
                    <a:pt x="1702" y="250"/>
                  </a:lnTo>
                  <a:lnTo>
                    <a:pt x="1702" y="243"/>
                  </a:lnTo>
                  <a:lnTo>
                    <a:pt x="1702" y="238"/>
                  </a:lnTo>
                  <a:lnTo>
                    <a:pt x="1702" y="238"/>
                  </a:lnTo>
                  <a:lnTo>
                    <a:pt x="1690" y="238"/>
                  </a:lnTo>
                  <a:lnTo>
                    <a:pt x="1690" y="238"/>
                  </a:lnTo>
                  <a:lnTo>
                    <a:pt x="1683" y="238"/>
                  </a:lnTo>
                  <a:lnTo>
                    <a:pt x="1678" y="238"/>
                  </a:lnTo>
                  <a:lnTo>
                    <a:pt x="1678" y="238"/>
                  </a:lnTo>
                  <a:lnTo>
                    <a:pt x="1676" y="236"/>
                  </a:lnTo>
                  <a:lnTo>
                    <a:pt x="1678" y="231"/>
                  </a:lnTo>
                  <a:lnTo>
                    <a:pt x="1678" y="226"/>
                  </a:lnTo>
                  <a:lnTo>
                    <a:pt x="1678" y="226"/>
                  </a:lnTo>
                  <a:lnTo>
                    <a:pt x="1654" y="226"/>
                  </a:lnTo>
                  <a:lnTo>
                    <a:pt x="1654" y="226"/>
                  </a:lnTo>
                  <a:lnTo>
                    <a:pt x="1654" y="231"/>
                  </a:lnTo>
                  <a:lnTo>
                    <a:pt x="1654" y="236"/>
                  </a:lnTo>
                  <a:lnTo>
                    <a:pt x="1654" y="238"/>
                  </a:lnTo>
                  <a:lnTo>
                    <a:pt x="1654" y="238"/>
                  </a:lnTo>
                  <a:lnTo>
                    <a:pt x="1652" y="238"/>
                  </a:lnTo>
                  <a:lnTo>
                    <a:pt x="1647" y="238"/>
                  </a:lnTo>
                  <a:lnTo>
                    <a:pt x="1643" y="238"/>
                  </a:lnTo>
                  <a:lnTo>
                    <a:pt x="1643" y="238"/>
                  </a:lnTo>
                  <a:lnTo>
                    <a:pt x="1636" y="238"/>
                  </a:lnTo>
                  <a:lnTo>
                    <a:pt x="1631" y="236"/>
                  </a:lnTo>
                  <a:lnTo>
                    <a:pt x="1628" y="238"/>
                  </a:lnTo>
                  <a:lnTo>
                    <a:pt x="1628" y="238"/>
                  </a:lnTo>
                  <a:lnTo>
                    <a:pt x="1628" y="243"/>
                  </a:lnTo>
                  <a:lnTo>
                    <a:pt x="1628" y="250"/>
                  </a:lnTo>
                  <a:lnTo>
                    <a:pt x="1628" y="250"/>
                  </a:lnTo>
                  <a:lnTo>
                    <a:pt x="1628" y="255"/>
                  </a:lnTo>
                  <a:lnTo>
                    <a:pt x="1628" y="262"/>
                  </a:lnTo>
                  <a:lnTo>
                    <a:pt x="1628" y="262"/>
                  </a:lnTo>
                  <a:lnTo>
                    <a:pt x="1628" y="273"/>
                  </a:lnTo>
                  <a:lnTo>
                    <a:pt x="1628" y="273"/>
                  </a:lnTo>
                  <a:lnTo>
                    <a:pt x="1631" y="280"/>
                  </a:lnTo>
                  <a:lnTo>
                    <a:pt x="1628" y="285"/>
                  </a:lnTo>
                  <a:lnTo>
                    <a:pt x="1628" y="285"/>
                  </a:lnTo>
                  <a:lnTo>
                    <a:pt x="1624" y="285"/>
                  </a:lnTo>
                  <a:lnTo>
                    <a:pt x="1617" y="285"/>
                  </a:lnTo>
                  <a:lnTo>
                    <a:pt x="1617" y="285"/>
                  </a:lnTo>
                  <a:lnTo>
                    <a:pt x="1617" y="278"/>
                  </a:lnTo>
                  <a:lnTo>
                    <a:pt x="1617" y="273"/>
                  </a:lnTo>
                  <a:lnTo>
                    <a:pt x="1617" y="273"/>
                  </a:lnTo>
                  <a:lnTo>
                    <a:pt x="1593" y="273"/>
                  </a:lnTo>
                  <a:lnTo>
                    <a:pt x="1593" y="273"/>
                  </a:lnTo>
                  <a:lnTo>
                    <a:pt x="1588" y="273"/>
                  </a:lnTo>
                  <a:lnTo>
                    <a:pt x="1581" y="273"/>
                  </a:lnTo>
                  <a:lnTo>
                    <a:pt x="1581" y="273"/>
                  </a:lnTo>
                  <a:lnTo>
                    <a:pt x="1581" y="262"/>
                  </a:lnTo>
                  <a:lnTo>
                    <a:pt x="1581" y="262"/>
                  </a:lnTo>
                  <a:lnTo>
                    <a:pt x="1581" y="250"/>
                  </a:lnTo>
                  <a:lnTo>
                    <a:pt x="1581" y="250"/>
                  </a:lnTo>
                  <a:lnTo>
                    <a:pt x="1581" y="238"/>
                  </a:lnTo>
                  <a:lnTo>
                    <a:pt x="1581" y="238"/>
                  </a:lnTo>
                  <a:lnTo>
                    <a:pt x="1581" y="191"/>
                  </a:lnTo>
                  <a:lnTo>
                    <a:pt x="1581" y="191"/>
                  </a:lnTo>
                  <a:lnTo>
                    <a:pt x="1581" y="179"/>
                  </a:lnTo>
                  <a:lnTo>
                    <a:pt x="1581" y="179"/>
                  </a:lnTo>
                  <a:lnTo>
                    <a:pt x="1581" y="172"/>
                  </a:lnTo>
                  <a:lnTo>
                    <a:pt x="1581" y="165"/>
                  </a:lnTo>
                  <a:lnTo>
                    <a:pt x="1581" y="165"/>
                  </a:lnTo>
                  <a:lnTo>
                    <a:pt x="1577" y="165"/>
                  </a:lnTo>
                  <a:lnTo>
                    <a:pt x="1570" y="165"/>
                  </a:lnTo>
                  <a:lnTo>
                    <a:pt x="1570" y="165"/>
                  </a:lnTo>
                  <a:lnTo>
                    <a:pt x="1570" y="153"/>
                  </a:lnTo>
                  <a:lnTo>
                    <a:pt x="1570" y="153"/>
                  </a:lnTo>
                  <a:lnTo>
                    <a:pt x="1570" y="148"/>
                  </a:lnTo>
                  <a:lnTo>
                    <a:pt x="1570" y="141"/>
                  </a:lnTo>
                  <a:lnTo>
                    <a:pt x="1570" y="141"/>
                  </a:lnTo>
                  <a:lnTo>
                    <a:pt x="1565" y="141"/>
                  </a:lnTo>
                  <a:lnTo>
                    <a:pt x="1558" y="141"/>
                  </a:lnTo>
                  <a:lnTo>
                    <a:pt x="1558" y="141"/>
                  </a:lnTo>
                  <a:lnTo>
                    <a:pt x="1558" y="139"/>
                  </a:lnTo>
                  <a:lnTo>
                    <a:pt x="1558" y="137"/>
                  </a:lnTo>
                  <a:lnTo>
                    <a:pt x="1558" y="130"/>
                  </a:lnTo>
                  <a:lnTo>
                    <a:pt x="1558" y="130"/>
                  </a:lnTo>
                  <a:lnTo>
                    <a:pt x="1558" y="106"/>
                  </a:lnTo>
                  <a:lnTo>
                    <a:pt x="1558" y="106"/>
                  </a:lnTo>
                  <a:lnTo>
                    <a:pt x="1534" y="106"/>
                  </a:lnTo>
                  <a:lnTo>
                    <a:pt x="1534" y="106"/>
                  </a:lnTo>
                  <a:lnTo>
                    <a:pt x="1534" y="118"/>
                  </a:lnTo>
                  <a:lnTo>
                    <a:pt x="1534" y="118"/>
                  </a:lnTo>
                  <a:lnTo>
                    <a:pt x="1534" y="130"/>
                  </a:lnTo>
                  <a:lnTo>
                    <a:pt x="1534" y="130"/>
                  </a:lnTo>
                  <a:lnTo>
                    <a:pt x="1534" y="137"/>
                  </a:lnTo>
                  <a:lnTo>
                    <a:pt x="1534" y="141"/>
                  </a:lnTo>
                  <a:lnTo>
                    <a:pt x="1534" y="141"/>
                  </a:lnTo>
                  <a:lnTo>
                    <a:pt x="1527" y="141"/>
                  </a:lnTo>
                  <a:lnTo>
                    <a:pt x="1522" y="141"/>
                  </a:lnTo>
                  <a:lnTo>
                    <a:pt x="1522" y="141"/>
                  </a:lnTo>
                  <a:lnTo>
                    <a:pt x="1522" y="148"/>
                  </a:lnTo>
                  <a:lnTo>
                    <a:pt x="1522" y="153"/>
                  </a:lnTo>
                  <a:lnTo>
                    <a:pt x="1522" y="153"/>
                  </a:lnTo>
                  <a:lnTo>
                    <a:pt x="1515" y="153"/>
                  </a:lnTo>
                  <a:lnTo>
                    <a:pt x="1511" y="153"/>
                  </a:lnTo>
                  <a:lnTo>
                    <a:pt x="1511" y="153"/>
                  </a:lnTo>
                  <a:lnTo>
                    <a:pt x="1511" y="160"/>
                  </a:lnTo>
                  <a:lnTo>
                    <a:pt x="1511" y="165"/>
                  </a:lnTo>
                  <a:lnTo>
                    <a:pt x="1511" y="165"/>
                  </a:lnTo>
                  <a:lnTo>
                    <a:pt x="1511" y="179"/>
                  </a:lnTo>
                  <a:lnTo>
                    <a:pt x="1511" y="179"/>
                  </a:lnTo>
                  <a:lnTo>
                    <a:pt x="1504" y="177"/>
                  </a:lnTo>
                  <a:lnTo>
                    <a:pt x="1499" y="179"/>
                  </a:lnTo>
                  <a:lnTo>
                    <a:pt x="1499" y="179"/>
                  </a:lnTo>
                  <a:lnTo>
                    <a:pt x="1499" y="184"/>
                  </a:lnTo>
                  <a:lnTo>
                    <a:pt x="1499" y="191"/>
                  </a:lnTo>
                  <a:lnTo>
                    <a:pt x="1499" y="191"/>
                  </a:lnTo>
                  <a:lnTo>
                    <a:pt x="1499" y="203"/>
                  </a:lnTo>
                  <a:lnTo>
                    <a:pt x="1499" y="203"/>
                  </a:lnTo>
                  <a:lnTo>
                    <a:pt x="1499" y="226"/>
                  </a:lnTo>
                  <a:lnTo>
                    <a:pt x="1499" y="226"/>
                  </a:lnTo>
                  <a:lnTo>
                    <a:pt x="1499" y="273"/>
                  </a:lnTo>
                  <a:lnTo>
                    <a:pt x="1499" y="273"/>
                  </a:lnTo>
                  <a:lnTo>
                    <a:pt x="1492" y="273"/>
                  </a:lnTo>
                  <a:lnTo>
                    <a:pt x="1489" y="273"/>
                  </a:lnTo>
                  <a:lnTo>
                    <a:pt x="1487" y="273"/>
                  </a:lnTo>
                  <a:lnTo>
                    <a:pt x="1487" y="273"/>
                  </a:lnTo>
                  <a:lnTo>
                    <a:pt x="1487" y="280"/>
                  </a:lnTo>
                  <a:lnTo>
                    <a:pt x="1487" y="285"/>
                  </a:lnTo>
                  <a:lnTo>
                    <a:pt x="1487" y="285"/>
                  </a:lnTo>
                  <a:lnTo>
                    <a:pt x="1480" y="285"/>
                  </a:lnTo>
                  <a:lnTo>
                    <a:pt x="1475" y="285"/>
                  </a:lnTo>
                  <a:lnTo>
                    <a:pt x="1475" y="285"/>
                  </a:lnTo>
                  <a:lnTo>
                    <a:pt x="1468" y="285"/>
                  </a:lnTo>
                  <a:lnTo>
                    <a:pt x="1464" y="285"/>
                  </a:lnTo>
                  <a:lnTo>
                    <a:pt x="1464" y="285"/>
                  </a:lnTo>
                  <a:lnTo>
                    <a:pt x="1464" y="287"/>
                  </a:lnTo>
                  <a:lnTo>
                    <a:pt x="1464" y="290"/>
                  </a:lnTo>
                  <a:lnTo>
                    <a:pt x="1464" y="297"/>
                  </a:lnTo>
                  <a:lnTo>
                    <a:pt x="1464" y="297"/>
                  </a:lnTo>
                  <a:lnTo>
                    <a:pt x="1456" y="297"/>
                  </a:lnTo>
                  <a:lnTo>
                    <a:pt x="1452" y="297"/>
                  </a:lnTo>
                  <a:lnTo>
                    <a:pt x="1452" y="297"/>
                  </a:lnTo>
                  <a:lnTo>
                    <a:pt x="1452" y="302"/>
                  </a:lnTo>
                  <a:lnTo>
                    <a:pt x="1452" y="309"/>
                  </a:lnTo>
                  <a:lnTo>
                    <a:pt x="1452" y="309"/>
                  </a:lnTo>
                  <a:lnTo>
                    <a:pt x="1452" y="320"/>
                  </a:lnTo>
                  <a:lnTo>
                    <a:pt x="1452" y="320"/>
                  </a:lnTo>
                  <a:lnTo>
                    <a:pt x="1428" y="320"/>
                  </a:lnTo>
                  <a:lnTo>
                    <a:pt x="1428" y="320"/>
                  </a:lnTo>
                  <a:lnTo>
                    <a:pt x="1428" y="297"/>
                  </a:lnTo>
                  <a:lnTo>
                    <a:pt x="1428" y="297"/>
                  </a:lnTo>
                  <a:lnTo>
                    <a:pt x="1428" y="285"/>
                  </a:lnTo>
                  <a:lnTo>
                    <a:pt x="1428" y="285"/>
                  </a:lnTo>
                  <a:lnTo>
                    <a:pt x="1428" y="262"/>
                  </a:lnTo>
                  <a:lnTo>
                    <a:pt x="1428" y="262"/>
                  </a:lnTo>
                  <a:lnTo>
                    <a:pt x="1428" y="214"/>
                  </a:lnTo>
                  <a:lnTo>
                    <a:pt x="1428" y="214"/>
                  </a:lnTo>
                  <a:lnTo>
                    <a:pt x="1428" y="191"/>
                  </a:lnTo>
                  <a:lnTo>
                    <a:pt x="1428" y="191"/>
                  </a:lnTo>
                  <a:lnTo>
                    <a:pt x="1428" y="179"/>
                  </a:lnTo>
                  <a:lnTo>
                    <a:pt x="1428" y="179"/>
                  </a:lnTo>
                  <a:lnTo>
                    <a:pt x="1428" y="153"/>
                  </a:lnTo>
                  <a:lnTo>
                    <a:pt x="1428" y="153"/>
                  </a:lnTo>
                  <a:lnTo>
                    <a:pt x="1428" y="141"/>
                  </a:lnTo>
                  <a:lnTo>
                    <a:pt x="1428" y="141"/>
                  </a:lnTo>
                  <a:lnTo>
                    <a:pt x="1428" y="130"/>
                  </a:lnTo>
                  <a:lnTo>
                    <a:pt x="1428" y="130"/>
                  </a:lnTo>
                  <a:lnTo>
                    <a:pt x="1428" y="118"/>
                  </a:lnTo>
                  <a:lnTo>
                    <a:pt x="1428" y="118"/>
                  </a:lnTo>
                  <a:lnTo>
                    <a:pt x="1421" y="118"/>
                  </a:lnTo>
                  <a:lnTo>
                    <a:pt x="1416" y="118"/>
                  </a:lnTo>
                  <a:lnTo>
                    <a:pt x="1416" y="118"/>
                  </a:lnTo>
                  <a:lnTo>
                    <a:pt x="1416" y="106"/>
                  </a:lnTo>
                  <a:lnTo>
                    <a:pt x="1416" y="106"/>
                  </a:lnTo>
                  <a:lnTo>
                    <a:pt x="1416" y="94"/>
                  </a:lnTo>
                  <a:lnTo>
                    <a:pt x="1416" y="94"/>
                  </a:lnTo>
                  <a:lnTo>
                    <a:pt x="1390" y="94"/>
                  </a:lnTo>
                  <a:lnTo>
                    <a:pt x="1390" y="94"/>
                  </a:lnTo>
                  <a:lnTo>
                    <a:pt x="1367" y="94"/>
                  </a:lnTo>
                  <a:lnTo>
                    <a:pt x="1367" y="94"/>
                  </a:lnTo>
                  <a:lnTo>
                    <a:pt x="1362" y="94"/>
                  </a:lnTo>
                  <a:lnTo>
                    <a:pt x="1358" y="94"/>
                  </a:lnTo>
                  <a:lnTo>
                    <a:pt x="1355" y="94"/>
                  </a:lnTo>
                  <a:lnTo>
                    <a:pt x="1355" y="94"/>
                  </a:lnTo>
                  <a:lnTo>
                    <a:pt x="1355" y="101"/>
                  </a:lnTo>
                  <a:lnTo>
                    <a:pt x="1355" y="106"/>
                  </a:lnTo>
                  <a:lnTo>
                    <a:pt x="1355" y="106"/>
                  </a:lnTo>
                  <a:lnTo>
                    <a:pt x="1358" y="113"/>
                  </a:lnTo>
                  <a:lnTo>
                    <a:pt x="1355" y="118"/>
                  </a:lnTo>
                  <a:lnTo>
                    <a:pt x="1355" y="118"/>
                  </a:lnTo>
                  <a:lnTo>
                    <a:pt x="1350" y="118"/>
                  </a:lnTo>
                  <a:lnTo>
                    <a:pt x="1343" y="118"/>
                  </a:lnTo>
                  <a:lnTo>
                    <a:pt x="1343" y="118"/>
                  </a:lnTo>
                  <a:lnTo>
                    <a:pt x="1343" y="130"/>
                  </a:lnTo>
                  <a:lnTo>
                    <a:pt x="1343" y="130"/>
                  </a:lnTo>
                  <a:lnTo>
                    <a:pt x="1343" y="141"/>
                  </a:lnTo>
                  <a:lnTo>
                    <a:pt x="1343" y="141"/>
                  </a:lnTo>
                  <a:lnTo>
                    <a:pt x="1343" y="153"/>
                  </a:lnTo>
                  <a:lnTo>
                    <a:pt x="1343" y="153"/>
                  </a:lnTo>
                  <a:lnTo>
                    <a:pt x="1343" y="179"/>
                  </a:lnTo>
                  <a:lnTo>
                    <a:pt x="1343" y="179"/>
                  </a:lnTo>
                  <a:lnTo>
                    <a:pt x="1343" y="191"/>
                  </a:lnTo>
                  <a:lnTo>
                    <a:pt x="1343" y="191"/>
                  </a:lnTo>
                  <a:lnTo>
                    <a:pt x="1343" y="214"/>
                  </a:lnTo>
                  <a:lnTo>
                    <a:pt x="1343" y="214"/>
                  </a:lnTo>
                  <a:lnTo>
                    <a:pt x="1343" y="262"/>
                  </a:lnTo>
                  <a:lnTo>
                    <a:pt x="1343" y="262"/>
                  </a:lnTo>
                  <a:lnTo>
                    <a:pt x="1343" y="273"/>
                  </a:lnTo>
                  <a:lnTo>
                    <a:pt x="1343" y="273"/>
                  </a:lnTo>
                  <a:lnTo>
                    <a:pt x="1339" y="273"/>
                  </a:lnTo>
                  <a:lnTo>
                    <a:pt x="1332" y="273"/>
                  </a:lnTo>
                  <a:lnTo>
                    <a:pt x="1332" y="273"/>
                  </a:lnTo>
                  <a:lnTo>
                    <a:pt x="1332" y="278"/>
                  </a:lnTo>
                  <a:lnTo>
                    <a:pt x="1332" y="285"/>
                  </a:lnTo>
                  <a:lnTo>
                    <a:pt x="1332" y="285"/>
                  </a:lnTo>
                  <a:lnTo>
                    <a:pt x="1329" y="285"/>
                  </a:lnTo>
                  <a:lnTo>
                    <a:pt x="1327" y="285"/>
                  </a:lnTo>
                  <a:lnTo>
                    <a:pt x="1320" y="285"/>
                  </a:lnTo>
                  <a:lnTo>
                    <a:pt x="1320" y="285"/>
                  </a:lnTo>
                  <a:lnTo>
                    <a:pt x="1320" y="297"/>
                  </a:lnTo>
                  <a:lnTo>
                    <a:pt x="1320" y="297"/>
                  </a:lnTo>
                  <a:lnTo>
                    <a:pt x="1320" y="309"/>
                  </a:lnTo>
                  <a:lnTo>
                    <a:pt x="1320" y="309"/>
                  </a:lnTo>
                  <a:lnTo>
                    <a:pt x="1320" y="320"/>
                  </a:lnTo>
                  <a:lnTo>
                    <a:pt x="1320" y="320"/>
                  </a:lnTo>
                  <a:lnTo>
                    <a:pt x="1320" y="332"/>
                  </a:lnTo>
                  <a:lnTo>
                    <a:pt x="1320" y="332"/>
                  </a:lnTo>
                  <a:lnTo>
                    <a:pt x="1320" y="344"/>
                  </a:lnTo>
                  <a:lnTo>
                    <a:pt x="1320" y="344"/>
                  </a:lnTo>
                  <a:lnTo>
                    <a:pt x="1320" y="351"/>
                  </a:lnTo>
                  <a:lnTo>
                    <a:pt x="1320" y="356"/>
                  </a:lnTo>
                  <a:lnTo>
                    <a:pt x="1320" y="356"/>
                  </a:lnTo>
                  <a:lnTo>
                    <a:pt x="1317" y="358"/>
                  </a:lnTo>
                  <a:lnTo>
                    <a:pt x="1315" y="356"/>
                  </a:lnTo>
                  <a:lnTo>
                    <a:pt x="1308" y="356"/>
                  </a:lnTo>
                  <a:lnTo>
                    <a:pt x="1308" y="356"/>
                  </a:lnTo>
                  <a:lnTo>
                    <a:pt x="1303" y="356"/>
                  </a:lnTo>
                  <a:lnTo>
                    <a:pt x="1299" y="356"/>
                  </a:lnTo>
                  <a:lnTo>
                    <a:pt x="1296" y="356"/>
                  </a:lnTo>
                  <a:lnTo>
                    <a:pt x="1296" y="356"/>
                  </a:lnTo>
                  <a:lnTo>
                    <a:pt x="1296" y="344"/>
                  </a:lnTo>
                  <a:lnTo>
                    <a:pt x="1296" y="344"/>
                  </a:lnTo>
                  <a:lnTo>
                    <a:pt x="1296" y="332"/>
                  </a:lnTo>
                  <a:lnTo>
                    <a:pt x="1296" y="332"/>
                  </a:lnTo>
                  <a:lnTo>
                    <a:pt x="1296" y="320"/>
                  </a:lnTo>
                  <a:lnTo>
                    <a:pt x="1296" y="320"/>
                  </a:lnTo>
                  <a:lnTo>
                    <a:pt x="1296" y="309"/>
                  </a:lnTo>
                  <a:lnTo>
                    <a:pt x="1296" y="309"/>
                  </a:lnTo>
                  <a:lnTo>
                    <a:pt x="1296" y="302"/>
                  </a:lnTo>
                  <a:lnTo>
                    <a:pt x="1296" y="297"/>
                  </a:lnTo>
                  <a:lnTo>
                    <a:pt x="1296" y="297"/>
                  </a:lnTo>
                  <a:lnTo>
                    <a:pt x="1294" y="297"/>
                  </a:lnTo>
                  <a:lnTo>
                    <a:pt x="1292" y="297"/>
                  </a:lnTo>
                  <a:lnTo>
                    <a:pt x="1287" y="297"/>
                  </a:lnTo>
                  <a:lnTo>
                    <a:pt x="1284" y="297"/>
                  </a:lnTo>
                  <a:lnTo>
                    <a:pt x="1284" y="297"/>
                  </a:lnTo>
                  <a:lnTo>
                    <a:pt x="1282" y="297"/>
                  </a:lnTo>
                  <a:lnTo>
                    <a:pt x="1280" y="297"/>
                  </a:lnTo>
                  <a:lnTo>
                    <a:pt x="1275" y="297"/>
                  </a:lnTo>
                  <a:lnTo>
                    <a:pt x="1273" y="297"/>
                  </a:lnTo>
                  <a:lnTo>
                    <a:pt x="1273" y="297"/>
                  </a:lnTo>
                  <a:lnTo>
                    <a:pt x="1273" y="290"/>
                  </a:lnTo>
                  <a:lnTo>
                    <a:pt x="1273" y="285"/>
                  </a:lnTo>
                  <a:lnTo>
                    <a:pt x="1273" y="285"/>
                  </a:lnTo>
                  <a:lnTo>
                    <a:pt x="1268" y="285"/>
                  </a:lnTo>
                  <a:lnTo>
                    <a:pt x="1261" y="285"/>
                  </a:lnTo>
                  <a:lnTo>
                    <a:pt x="1261" y="285"/>
                  </a:lnTo>
                  <a:lnTo>
                    <a:pt x="1254" y="285"/>
                  </a:lnTo>
                  <a:lnTo>
                    <a:pt x="1249" y="285"/>
                  </a:lnTo>
                  <a:lnTo>
                    <a:pt x="1249" y="285"/>
                  </a:lnTo>
                  <a:lnTo>
                    <a:pt x="1249" y="283"/>
                  </a:lnTo>
                  <a:lnTo>
                    <a:pt x="1249" y="278"/>
                  </a:lnTo>
                  <a:lnTo>
                    <a:pt x="1249" y="273"/>
                  </a:lnTo>
                  <a:lnTo>
                    <a:pt x="1249" y="273"/>
                  </a:lnTo>
                  <a:lnTo>
                    <a:pt x="1237" y="273"/>
                  </a:lnTo>
                  <a:lnTo>
                    <a:pt x="1237" y="273"/>
                  </a:lnTo>
                  <a:lnTo>
                    <a:pt x="1230" y="273"/>
                  </a:lnTo>
                  <a:lnTo>
                    <a:pt x="1226" y="273"/>
                  </a:lnTo>
                  <a:lnTo>
                    <a:pt x="1226" y="273"/>
                  </a:lnTo>
                  <a:lnTo>
                    <a:pt x="1226" y="280"/>
                  </a:lnTo>
                  <a:lnTo>
                    <a:pt x="1226" y="285"/>
                  </a:lnTo>
                  <a:lnTo>
                    <a:pt x="1226" y="285"/>
                  </a:lnTo>
                  <a:lnTo>
                    <a:pt x="1218" y="285"/>
                  </a:lnTo>
                  <a:lnTo>
                    <a:pt x="1214" y="285"/>
                  </a:lnTo>
                  <a:lnTo>
                    <a:pt x="1214" y="285"/>
                  </a:lnTo>
                  <a:lnTo>
                    <a:pt x="1207" y="285"/>
                  </a:lnTo>
                  <a:lnTo>
                    <a:pt x="1202" y="285"/>
                  </a:lnTo>
                  <a:lnTo>
                    <a:pt x="1202" y="285"/>
                  </a:lnTo>
                  <a:lnTo>
                    <a:pt x="1200" y="287"/>
                  </a:lnTo>
                  <a:lnTo>
                    <a:pt x="1202" y="290"/>
                  </a:lnTo>
                  <a:lnTo>
                    <a:pt x="1202" y="295"/>
                  </a:lnTo>
                  <a:lnTo>
                    <a:pt x="1202" y="297"/>
                  </a:lnTo>
                  <a:lnTo>
                    <a:pt x="1202" y="297"/>
                  </a:lnTo>
                  <a:lnTo>
                    <a:pt x="1195" y="297"/>
                  </a:lnTo>
                  <a:lnTo>
                    <a:pt x="1190" y="297"/>
                  </a:lnTo>
                  <a:lnTo>
                    <a:pt x="1190" y="297"/>
                  </a:lnTo>
                  <a:lnTo>
                    <a:pt x="1183" y="297"/>
                  </a:lnTo>
                  <a:lnTo>
                    <a:pt x="1178" y="297"/>
                  </a:lnTo>
                  <a:lnTo>
                    <a:pt x="1178" y="297"/>
                  </a:lnTo>
                  <a:lnTo>
                    <a:pt x="1178" y="302"/>
                  </a:lnTo>
                  <a:lnTo>
                    <a:pt x="1178" y="309"/>
                  </a:lnTo>
                  <a:lnTo>
                    <a:pt x="1178" y="309"/>
                  </a:lnTo>
                  <a:lnTo>
                    <a:pt x="1176" y="316"/>
                  </a:lnTo>
                  <a:lnTo>
                    <a:pt x="1178" y="320"/>
                  </a:lnTo>
                  <a:lnTo>
                    <a:pt x="1178" y="320"/>
                  </a:lnTo>
                  <a:lnTo>
                    <a:pt x="1178" y="332"/>
                  </a:lnTo>
                  <a:lnTo>
                    <a:pt x="1178" y="332"/>
                  </a:lnTo>
                  <a:lnTo>
                    <a:pt x="1178" y="339"/>
                  </a:lnTo>
                  <a:lnTo>
                    <a:pt x="1178" y="344"/>
                  </a:lnTo>
                  <a:lnTo>
                    <a:pt x="1178" y="344"/>
                  </a:lnTo>
                  <a:lnTo>
                    <a:pt x="1176" y="344"/>
                  </a:lnTo>
                  <a:lnTo>
                    <a:pt x="1171" y="344"/>
                  </a:lnTo>
                  <a:lnTo>
                    <a:pt x="1167" y="344"/>
                  </a:lnTo>
                  <a:lnTo>
                    <a:pt x="1167" y="344"/>
                  </a:lnTo>
                  <a:lnTo>
                    <a:pt x="1167" y="320"/>
                  </a:lnTo>
                  <a:lnTo>
                    <a:pt x="1167" y="320"/>
                  </a:lnTo>
                  <a:lnTo>
                    <a:pt x="1160" y="320"/>
                  </a:lnTo>
                  <a:lnTo>
                    <a:pt x="1157" y="320"/>
                  </a:lnTo>
                  <a:lnTo>
                    <a:pt x="1155" y="320"/>
                  </a:lnTo>
                  <a:lnTo>
                    <a:pt x="1155" y="320"/>
                  </a:lnTo>
                  <a:lnTo>
                    <a:pt x="1153" y="318"/>
                  </a:lnTo>
                  <a:lnTo>
                    <a:pt x="1153" y="316"/>
                  </a:lnTo>
                  <a:lnTo>
                    <a:pt x="1155" y="309"/>
                  </a:lnTo>
                  <a:lnTo>
                    <a:pt x="1155" y="309"/>
                  </a:lnTo>
                  <a:lnTo>
                    <a:pt x="1153" y="306"/>
                  </a:lnTo>
                  <a:lnTo>
                    <a:pt x="1155" y="304"/>
                  </a:lnTo>
                  <a:lnTo>
                    <a:pt x="1155" y="299"/>
                  </a:lnTo>
                  <a:lnTo>
                    <a:pt x="1155" y="297"/>
                  </a:lnTo>
                  <a:lnTo>
                    <a:pt x="1155" y="297"/>
                  </a:lnTo>
                  <a:lnTo>
                    <a:pt x="1141" y="297"/>
                  </a:lnTo>
                  <a:lnTo>
                    <a:pt x="1141" y="297"/>
                  </a:lnTo>
                  <a:lnTo>
                    <a:pt x="1136" y="297"/>
                  </a:lnTo>
                  <a:lnTo>
                    <a:pt x="1129" y="297"/>
                  </a:lnTo>
                  <a:lnTo>
                    <a:pt x="1129" y="297"/>
                  </a:lnTo>
                  <a:lnTo>
                    <a:pt x="1129" y="295"/>
                  </a:lnTo>
                  <a:lnTo>
                    <a:pt x="1129" y="292"/>
                  </a:lnTo>
                  <a:lnTo>
                    <a:pt x="1129" y="285"/>
                  </a:lnTo>
                  <a:lnTo>
                    <a:pt x="1129" y="285"/>
                  </a:lnTo>
                  <a:lnTo>
                    <a:pt x="1127" y="285"/>
                  </a:lnTo>
                  <a:lnTo>
                    <a:pt x="1124" y="285"/>
                  </a:lnTo>
                  <a:lnTo>
                    <a:pt x="1120" y="285"/>
                  </a:lnTo>
                  <a:lnTo>
                    <a:pt x="1117" y="285"/>
                  </a:lnTo>
                  <a:lnTo>
                    <a:pt x="1117" y="285"/>
                  </a:lnTo>
                  <a:lnTo>
                    <a:pt x="1117" y="283"/>
                  </a:lnTo>
                  <a:lnTo>
                    <a:pt x="1117" y="278"/>
                  </a:lnTo>
                  <a:lnTo>
                    <a:pt x="1117" y="273"/>
                  </a:lnTo>
                  <a:lnTo>
                    <a:pt x="1117" y="273"/>
                  </a:lnTo>
                  <a:lnTo>
                    <a:pt x="1105" y="273"/>
                  </a:lnTo>
                  <a:lnTo>
                    <a:pt x="1105" y="273"/>
                  </a:lnTo>
                  <a:lnTo>
                    <a:pt x="1094" y="273"/>
                  </a:lnTo>
                  <a:lnTo>
                    <a:pt x="1094" y="273"/>
                  </a:lnTo>
                  <a:lnTo>
                    <a:pt x="1046" y="273"/>
                  </a:lnTo>
                  <a:lnTo>
                    <a:pt x="1046" y="273"/>
                  </a:lnTo>
                  <a:lnTo>
                    <a:pt x="1046" y="297"/>
                  </a:lnTo>
                  <a:lnTo>
                    <a:pt x="1046" y="297"/>
                  </a:lnTo>
                  <a:lnTo>
                    <a:pt x="1023" y="297"/>
                  </a:lnTo>
                  <a:lnTo>
                    <a:pt x="1023" y="297"/>
                  </a:lnTo>
                  <a:lnTo>
                    <a:pt x="1023" y="344"/>
                  </a:lnTo>
                  <a:lnTo>
                    <a:pt x="1023" y="344"/>
                  </a:lnTo>
                  <a:lnTo>
                    <a:pt x="1011" y="344"/>
                  </a:lnTo>
                  <a:lnTo>
                    <a:pt x="1011" y="344"/>
                  </a:lnTo>
                  <a:lnTo>
                    <a:pt x="988" y="344"/>
                  </a:lnTo>
                  <a:lnTo>
                    <a:pt x="988" y="344"/>
                  </a:lnTo>
                  <a:lnTo>
                    <a:pt x="964" y="344"/>
                  </a:lnTo>
                  <a:lnTo>
                    <a:pt x="964" y="344"/>
                  </a:lnTo>
                  <a:lnTo>
                    <a:pt x="952" y="344"/>
                  </a:lnTo>
                  <a:lnTo>
                    <a:pt x="952" y="344"/>
                  </a:lnTo>
                  <a:lnTo>
                    <a:pt x="940" y="344"/>
                  </a:lnTo>
                  <a:lnTo>
                    <a:pt x="940" y="344"/>
                  </a:lnTo>
                  <a:lnTo>
                    <a:pt x="929" y="344"/>
                  </a:lnTo>
                  <a:lnTo>
                    <a:pt x="929" y="344"/>
                  </a:lnTo>
                  <a:lnTo>
                    <a:pt x="922" y="344"/>
                  </a:lnTo>
                  <a:lnTo>
                    <a:pt x="917" y="344"/>
                  </a:lnTo>
                  <a:lnTo>
                    <a:pt x="917" y="344"/>
                  </a:lnTo>
                  <a:lnTo>
                    <a:pt x="917" y="339"/>
                  </a:lnTo>
                  <a:lnTo>
                    <a:pt x="917" y="332"/>
                  </a:lnTo>
                  <a:lnTo>
                    <a:pt x="917" y="332"/>
                  </a:lnTo>
                  <a:lnTo>
                    <a:pt x="915" y="332"/>
                  </a:lnTo>
                  <a:lnTo>
                    <a:pt x="910" y="332"/>
                  </a:lnTo>
                  <a:lnTo>
                    <a:pt x="903" y="332"/>
                  </a:lnTo>
                  <a:lnTo>
                    <a:pt x="903" y="332"/>
                  </a:lnTo>
                  <a:lnTo>
                    <a:pt x="903" y="309"/>
                  </a:lnTo>
                  <a:lnTo>
                    <a:pt x="903" y="309"/>
                  </a:lnTo>
                  <a:lnTo>
                    <a:pt x="903" y="262"/>
                  </a:lnTo>
                  <a:lnTo>
                    <a:pt x="903" y="262"/>
                  </a:lnTo>
                  <a:lnTo>
                    <a:pt x="903" y="250"/>
                  </a:lnTo>
                  <a:lnTo>
                    <a:pt x="903" y="250"/>
                  </a:lnTo>
                  <a:lnTo>
                    <a:pt x="903" y="226"/>
                  </a:lnTo>
                  <a:lnTo>
                    <a:pt x="903" y="226"/>
                  </a:lnTo>
                  <a:lnTo>
                    <a:pt x="903" y="203"/>
                  </a:lnTo>
                  <a:lnTo>
                    <a:pt x="903" y="203"/>
                  </a:lnTo>
                  <a:lnTo>
                    <a:pt x="856" y="203"/>
                  </a:lnTo>
                  <a:lnTo>
                    <a:pt x="856" y="203"/>
                  </a:lnTo>
                  <a:lnTo>
                    <a:pt x="856" y="191"/>
                  </a:lnTo>
                  <a:lnTo>
                    <a:pt x="856" y="191"/>
                  </a:lnTo>
                  <a:lnTo>
                    <a:pt x="856" y="141"/>
                  </a:lnTo>
                  <a:lnTo>
                    <a:pt x="856" y="141"/>
                  </a:lnTo>
                  <a:lnTo>
                    <a:pt x="856" y="118"/>
                  </a:lnTo>
                  <a:lnTo>
                    <a:pt x="856" y="118"/>
                  </a:lnTo>
                  <a:lnTo>
                    <a:pt x="856" y="106"/>
                  </a:lnTo>
                  <a:lnTo>
                    <a:pt x="856" y="106"/>
                  </a:lnTo>
                  <a:lnTo>
                    <a:pt x="856" y="59"/>
                  </a:lnTo>
                  <a:lnTo>
                    <a:pt x="856" y="59"/>
                  </a:lnTo>
                  <a:lnTo>
                    <a:pt x="856" y="47"/>
                  </a:lnTo>
                  <a:lnTo>
                    <a:pt x="856" y="47"/>
                  </a:lnTo>
                  <a:lnTo>
                    <a:pt x="856" y="24"/>
                  </a:lnTo>
                  <a:lnTo>
                    <a:pt x="856" y="24"/>
                  </a:lnTo>
                  <a:lnTo>
                    <a:pt x="851" y="24"/>
                  </a:lnTo>
                  <a:lnTo>
                    <a:pt x="844" y="24"/>
                  </a:lnTo>
                  <a:lnTo>
                    <a:pt x="844" y="24"/>
                  </a:lnTo>
                  <a:lnTo>
                    <a:pt x="844" y="12"/>
                  </a:lnTo>
                  <a:lnTo>
                    <a:pt x="844" y="12"/>
                  </a:lnTo>
                  <a:lnTo>
                    <a:pt x="844" y="0"/>
                  </a:lnTo>
                  <a:lnTo>
                    <a:pt x="844" y="0"/>
                  </a:lnTo>
                  <a:lnTo>
                    <a:pt x="750" y="0"/>
                  </a:lnTo>
                  <a:lnTo>
                    <a:pt x="750" y="0"/>
                  </a:lnTo>
                  <a:lnTo>
                    <a:pt x="750" y="12"/>
                  </a:lnTo>
                  <a:lnTo>
                    <a:pt x="750" y="12"/>
                  </a:lnTo>
                  <a:lnTo>
                    <a:pt x="750" y="35"/>
                  </a:lnTo>
                  <a:lnTo>
                    <a:pt x="750" y="35"/>
                  </a:lnTo>
                  <a:lnTo>
                    <a:pt x="750" y="47"/>
                  </a:lnTo>
                  <a:lnTo>
                    <a:pt x="750" y="47"/>
                  </a:lnTo>
                  <a:lnTo>
                    <a:pt x="750" y="54"/>
                  </a:lnTo>
                  <a:lnTo>
                    <a:pt x="750" y="59"/>
                  </a:lnTo>
                  <a:lnTo>
                    <a:pt x="750" y="59"/>
                  </a:lnTo>
                  <a:lnTo>
                    <a:pt x="743" y="59"/>
                  </a:lnTo>
                  <a:lnTo>
                    <a:pt x="738" y="59"/>
                  </a:lnTo>
                  <a:lnTo>
                    <a:pt x="738" y="59"/>
                  </a:lnTo>
                  <a:lnTo>
                    <a:pt x="738" y="64"/>
                  </a:lnTo>
                  <a:lnTo>
                    <a:pt x="738" y="71"/>
                  </a:lnTo>
                  <a:lnTo>
                    <a:pt x="738" y="71"/>
                  </a:lnTo>
                  <a:lnTo>
                    <a:pt x="738" y="82"/>
                  </a:lnTo>
                  <a:lnTo>
                    <a:pt x="738" y="82"/>
                  </a:lnTo>
                  <a:lnTo>
                    <a:pt x="738" y="106"/>
                  </a:lnTo>
                  <a:lnTo>
                    <a:pt x="738" y="106"/>
                  </a:lnTo>
                  <a:lnTo>
                    <a:pt x="738" y="118"/>
                  </a:lnTo>
                  <a:lnTo>
                    <a:pt x="738" y="118"/>
                  </a:lnTo>
                  <a:lnTo>
                    <a:pt x="738" y="141"/>
                  </a:lnTo>
                  <a:lnTo>
                    <a:pt x="738" y="141"/>
                  </a:lnTo>
                  <a:lnTo>
                    <a:pt x="738" y="238"/>
                  </a:lnTo>
                  <a:lnTo>
                    <a:pt x="738" y="238"/>
                  </a:lnTo>
                  <a:lnTo>
                    <a:pt x="738" y="250"/>
                  </a:lnTo>
                  <a:lnTo>
                    <a:pt x="738" y="250"/>
                  </a:lnTo>
                  <a:lnTo>
                    <a:pt x="738" y="273"/>
                  </a:lnTo>
                  <a:lnTo>
                    <a:pt x="738" y="273"/>
                  </a:lnTo>
                  <a:lnTo>
                    <a:pt x="738" y="320"/>
                  </a:lnTo>
                  <a:lnTo>
                    <a:pt x="738" y="320"/>
                  </a:lnTo>
                  <a:lnTo>
                    <a:pt x="726" y="320"/>
                  </a:lnTo>
                  <a:lnTo>
                    <a:pt x="726" y="320"/>
                  </a:lnTo>
                  <a:lnTo>
                    <a:pt x="726" y="309"/>
                  </a:lnTo>
                  <a:lnTo>
                    <a:pt x="726" y="309"/>
                  </a:lnTo>
                  <a:lnTo>
                    <a:pt x="726" y="297"/>
                  </a:lnTo>
                  <a:lnTo>
                    <a:pt x="726" y="297"/>
                  </a:lnTo>
                  <a:lnTo>
                    <a:pt x="726" y="285"/>
                  </a:lnTo>
                  <a:lnTo>
                    <a:pt x="726" y="285"/>
                  </a:lnTo>
                  <a:lnTo>
                    <a:pt x="726" y="278"/>
                  </a:lnTo>
                  <a:lnTo>
                    <a:pt x="726" y="273"/>
                  </a:lnTo>
                  <a:lnTo>
                    <a:pt x="726" y="273"/>
                  </a:lnTo>
                  <a:lnTo>
                    <a:pt x="724" y="273"/>
                  </a:lnTo>
                  <a:lnTo>
                    <a:pt x="719" y="273"/>
                  </a:lnTo>
                  <a:lnTo>
                    <a:pt x="714" y="273"/>
                  </a:lnTo>
                  <a:lnTo>
                    <a:pt x="714" y="273"/>
                  </a:lnTo>
                  <a:lnTo>
                    <a:pt x="712" y="271"/>
                  </a:lnTo>
                  <a:lnTo>
                    <a:pt x="714" y="266"/>
                  </a:lnTo>
                  <a:lnTo>
                    <a:pt x="714" y="262"/>
                  </a:lnTo>
                  <a:lnTo>
                    <a:pt x="714" y="262"/>
                  </a:lnTo>
                  <a:lnTo>
                    <a:pt x="702" y="262"/>
                  </a:lnTo>
                  <a:lnTo>
                    <a:pt x="702" y="262"/>
                  </a:lnTo>
                  <a:lnTo>
                    <a:pt x="679" y="262"/>
                  </a:lnTo>
                  <a:lnTo>
                    <a:pt x="679" y="262"/>
                  </a:lnTo>
                  <a:lnTo>
                    <a:pt x="679" y="266"/>
                  </a:lnTo>
                  <a:lnTo>
                    <a:pt x="679" y="273"/>
                  </a:lnTo>
                  <a:lnTo>
                    <a:pt x="679" y="273"/>
                  </a:lnTo>
                  <a:lnTo>
                    <a:pt x="667" y="273"/>
                  </a:lnTo>
                  <a:lnTo>
                    <a:pt x="667" y="273"/>
                  </a:lnTo>
                  <a:lnTo>
                    <a:pt x="660" y="273"/>
                  </a:lnTo>
                  <a:lnTo>
                    <a:pt x="653" y="273"/>
                  </a:lnTo>
                  <a:lnTo>
                    <a:pt x="653" y="273"/>
                  </a:lnTo>
                  <a:lnTo>
                    <a:pt x="653" y="278"/>
                  </a:lnTo>
                  <a:lnTo>
                    <a:pt x="653" y="285"/>
                  </a:lnTo>
                  <a:lnTo>
                    <a:pt x="653" y="285"/>
                  </a:lnTo>
                  <a:lnTo>
                    <a:pt x="641" y="285"/>
                  </a:lnTo>
                  <a:lnTo>
                    <a:pt x="641" y="285"/>
                  </a:lnTo>
                  <a:lnTo>
                    <a:pt x="629" y="285"/>
                  </a:lnTo>
                  <a:lnTo>
                    <a:pt x="629" y="285"/>
                  </a:lnTo>
                  <a:lnTo>
                    <a:pt x="629" y="292"/>
                  </a:lnTo>
                  <a:lnTo>
                    <a:pt x="632" y="295"/>
                  </a:lnTo>
                  <a:lnTo>
                    <a:pt x="629" y="297"/>
                  </a:lnTo>
                  <a:lnTo>
                    <a:pt x="629" y="297"/>
                  </a:lnTo>
                  <a:lnTo>
                    <a:pt x="625" y="297"/>
                  </a:lnTo>
                  <a:lnTo>
                    <a:pt x="618" y="297"/>
                  </a:lnTo>
                  <a:lnTo>
                    <a:pt x="618" y="297"/>
                  </a:lnTo>
                  <a:lnTo>
                    <a:pt x="613" y="297"/>
                  </a:lnTo>
                  <a:lnTo>
                    <a:pt x="606" y="297"/>
                  </a:lnTo>
                  <a:lnTo>
                    <a:pt x="606" y="297"/>
                  </a:lnTo>
                  <a:lnTo>
                    <a:pt x="594" y="297"/>
                  </a:lnTo>
                  <a:lnTo>
                    <a:pt x="594" y="297"/>
                  </a:lnTo>
                  <a:lnTo>
                    <a:pt x="582" y="297"/>
                  </a:lnTo>
                  <a:lnTo>
                    <a:pt x="582" y="297"/>
                  </a:lnTo>
                  <a:lnTo>
                    <a:pt x="582" y="302"/>
                  </a:lnTo>
                  <a:lnTo>
                    <a:pt x="582" y="309"/>
                  </a:lnTo>
                  <a:lnTo>
                    <a:pt x="582" y="309"/>
                  </a:lnTo>
                  <a:lnTo>
                    <a:pt x="578" y="309"/>
                  </a:lnTo>
                  <a:lnTo>
                    <a:pt x="571" y="309"/>
                  </a:lnTo>
                  <a:lnTo>
                    <a:pt x="571" y="309"/>
                  </a:lnTo>
                  <a:lnTo>
                    <a:pt x="571" y="316"/>
                  </a:lnTo>
                  <a:lnTo>
                    <a:pt x="571" y="320"/>
                  </a:lnTo>
                  <a:lnTo>
                    <a:pt x="571" y="320"/>
                  </a:lnTo>
                  <a:lnTo>
                    <a:pt x="566" y="320"/>
                  </a:lnTo>
                  <a:lnTo>
                    <a:pt x="559" y="320"/>
                  </a:lnTo>
                  <a:lnTo>
                    <a:pt x="559" y="320"/>
                  </a:lnTo>
                  <a:lnTo>
                    <a:pt x="559" y="328"/>
                  </a:lnTo>
                  <a:lnTo>
                    <a:pt x="559" y="332"/>
                  </a:lnTo>
                  <a:lnTo>
                    <a:pt x="559" y="332"/>
                  </a:lnTo>
                  <a:lnTo>
                    <a:pt x="559" y="356"/>
                  </a:lnTo>
                  <a:lnTo>
                    <a:pt x="559" y="356"/>
                  </a:lnTo>
                  <a:lnTo>
                    <a:pt x="554" y="356"/>
                  </a:lnTo>
                  <a:lnTo>
                    <a:pt x="547" y="356"/>
                  </a:lnTo>
                  <a:lnTo>
                    <a:pt x="547" y="356"/>
                  </a:lnTo>
                  <a:lnTo>
                    <a:pt x="542" y="356"/>
                  </a:lnTo>
                  <a:lnTo>
                    <a:pt x="535" y="356"/>
                  </a:lnTo>
                  <a:lnTo>
                    <a:pt x="535" y="356"/>
                  </a:lnTo>
                  <a:lnTo>
                    <a:pt x="528" y="356"/>
                  </a:lnTo>
                  <a:lnTo>
                    <a:pt x="523" y="356"/>
                  </a:lnTo>
                  <a:lnTo>
                    <a:pt x="523" y="356"/>
                  </a:lnTo>
                  <a:lnTo>
                    <a:pt x="523" y="351"/>
                  </a:lnTo>
                  <a:lnTo>
                    <a:pt x="523" y="344"/>
                  </a:lnTo>
                  <a:lnTo>
                    <a:pt x="523" y="344"/>
                  </a:lnTo>
                  <a:lnTo>
                    <a:pt x="512" y="344"/>
                  </a:lnTo>
                  <a:lnTo>
                    <a:pt x="512" y="344"/>
                  </a:lnTo>
                  <a:lnTo>
                    <a:pt x="500" y="344"/>
                  </a:lnTo>
                  <a:lnTo>
                    <a:pt x="500" y="344"/>
                  </a:lnTo>
                  <a:lnTo>
                    <a:pt x="476" y="344"/>
                  </a:lnTo>
                  <a:lnTo>
                    <a:pt x="476" y="344"/>
                  </a:lnTo>
                  <a:lnTo>
                    <a:pt x="453" y="344"/>
                  </a:lnTo>
                  <a:lnTo>
                    <a:pt x="453" y="344"/>
                  </a:lnTo>
                  <a:lnTo>
                    <a:pt x="453" y="339"/>
                  </a:lnTo>
                  <a:lnTo>
                    <a:pt x="453" y="335"/>
                  </a:lnTo>
                  <a:lnTo>
                    <a:pt x="453" y="332"/>
                  </a:lnTo>
                  <a:lnTo>
                    <a:pt x="453" y="332"/>
                  </a:lnTo>
                  <a:lnTo>
                    <a:pt x="446" y="332"/>
                  </a:lnTo>
                  <a:lnTo>
                    <a:pt x="441" y="332"/>
                  </a:lnTo>
                  <a:lnTo>
                    <a:pt x="441" y="332"/>
                  </a:lnTo>
                  <a:lnTo>
                    <a:pt x="429" y="332"/>
                  </a:lnTo>
                  <a:lnTo>
                    <a:pt x="429" y="332"/>
                  </a:lnTo>
                  <a:lnTo>
                    <a:pt x="429" y="339"/>
                  </a:lnTo>
                  <a:lnTo>
                    <a:pt x="429" y="342"/>
                  </a:lnTo>
                  <a:lnTo>
                    <a:pt x="429" y="344"/>
                  </a:lnTo>
                  <a:lnTo>
                    <a:pt x="429" y="344"/>
                  </a:lnTo>
                  <a:lnTo>
                    <a:pt x="422" y="344"/>
                  </a:lnTo>
                  <a:lnTo>
                    <a:pt x="417" y="344"/>
                  </a:lnTo>
                  <a:lnTo>
                    <a:pt x="417" y="344"/>
                  </a:lnTo>
                  <a:lnTo>
                    <a:pt x="403" y="344"/>
                  </a:lnTo>
                  <a:lnTo>
                    <a:pt x="403" y="344"/>
                  </a:lnTo>
                  <a:lnTo>
                    <a:pt x="399" y="344"/>
                  </a:lnTo>
                  <a:lnTo>
                    <a:pt x="391" y="344"/>
                  </a:lnTo>
                  <a:lnTo>
                    <a:pt x="391" y="344"/>
                  </a:lnTo>
                  <a:lnTo>
                    <a:pt x="387" y="344"/>
                  </a:lnTo>
                  <a:lnTo>
                    <a:pt x="380" y="344"/>
                  </a:lnTo>
                  <a:lnTo>
                    <a:pt x="380" y="344"/>
                  </a:lnTo>
                  <a:lnTo>
                    <a:pt x="380" y="346"/>
                  </a:lnTo>
                  <a:lnTo>
                    <a:pt x="380" y="351"/>
                  </a:lnTo>
                  <a:lnTo>
                    <a:pt x="380" y="356"/>
                  </a:lnTo>
                  <a:lnTo>
                    <a:pt x="380" y="356"/>
                  </a:lnTo>
                  <a:lnTo>
                    <a:pt x="356" y="356"/>
                  </a:lnTo>
                  <a:lnTo>
                    <a:pt x="356" y="356"/>
                  </a:lnTo>
                  <a:lnTo>
                    <a:pt x="344" y="356"/>
                  </a:lnTo>
                  <a:lnTo>
                    <a:pt x="344" y="356"/>
                  </a:lnTo>
                  <a:lnTo>
                    <a:pt x="321" y="356"/>
                  </a:lnTo>
                  <a:lnTo>
                    <a:pt x="321" y="356"/>
                  </a:lnTo>
                  <a:lnTo>
                    <a:pt x="309" y="356"/>
                  </a:lnTo>
                  <a:lnTo>
                    <a:pt x="309" y="356"/>
                  </a:lnTo>
                  <a:lnTo>
                    <a:pt x="297" y="356"/>
                  </a:lnTo>
                  <a:lnTo>
                    <a:pt x="297" y="356"/>
                  </a:lnTo>
                  <a:lnTo>
                    <a:pt x="285" y="356"/>
                  </a:lnTo>
                  <a:lnTo>
                    <a:pt x="285" y="356"/>
                  </a:lnTo>
                  <a:lnTo>
                    <a:pt x="274" y="356"/>
                  </a:lnTo>
                  <a:lnTo>
                    <a:pt x="274" y="356"/>
                  </a:lnTo>
                  <a:lnTo>
                    <a:pt x="262" y="356"/>
                  </a:lnTo>
                  <a:lnTo>
                    <a:pt x="262" y="356"/>
                  </a:lnTo>
                  <a:lnTo>
                    <a:pt x="250" y="356"/>
                  </a:lnTo>
                  <a:lnTo>
                    <a:pt x="250" y="356"/>
                  </a:lnTo>
                  <a:lnTo>
                    <a:pt x="243" y="356"/>
                  </a:lnTo>
                  <a:lnTo>
                    <a:pt x="238" y="356"/>
                  </a:lnTo>
                  <a:lnTo>
                    <a:pt x="238" y="356"/>
                  </a:lnTo>
                  <a:lnTo>
                    <a:pt x="238" y="351"/>
                  </a:lnTo>
                  <a:lnTo>
                    <a:pt x="238" y="344"/>
                  </a:lnTo>
                  <a:lnTo>
                    <a:pt x="238" y="344"/>
                  </a:lnTo>
                  <a:lnTo>
                    <a:pt x="231" y="344"/>
                  </a:lnTo>
                  <a:lnTo>
                    <a:pt x="227" y="344"/>
                  </a:lnTo>
                  <a:lnTo>
                    <a:pt x="227" y="344"/>
                  </a:lnTo>
                  <a:lnTo>
                    <a:pt x="227" y="356"/>
                  </a:lnTo>
                  <a:lnTo>
                    <a:pt x="227" y="356"/>
                  </a:lnTo>
                  <a:lnTo>
                    <a:pt x="215" y="356"/>
                  </a:lnTo>
                  <a:lnTo>
                    <a:pt x="215" y="356"/>
                  </a:lnTo>
                  <a:lnTo>
                    <a:pt x="203" y="356"/>
                  </a:lnTo>
                  <a:lnTo>
                    <a:pt x="203" y="356"/>
                  </a:lnTo>
                  <a:lnTo>
                    <a:pt x="191" y="356"/>
                  </a:lnTo>
                  <a:lnTo>
                    <a:pt x="191" y="356"/>
                  </a:lnTo>
                  <a:lnTo>
                    <a:pt x="179" y="356"/>
                  </a:lnTo>
                  <a:lnTo>
                    <a:pt x="179" y="356"/>
                  </a:lnTo>
                  <a:lnTo>
                    <a:pt x="165" y="356"/>
                  </a:lnTo>
                  <a:lnTo>
                    <a:pt x="165" y="356"/>
                  </a:lnTo>
                  <a:lnTo>
                    <a:pt x="153" y="356"/>
                  </a:lnTo>
                  <a:lnTo>
                    <a:pt x="153" y="356"/>
                  </a:lnTo>
                  <a:lnTo>
                    <a:pt x="130" y="356"/>
                  </a:lnTo>
                  <a:lnTo>
                    <a:pt x="130" y="356"/>
                  </a:lnTo>
                  <a:lnTo>
                    <a:pt x="118" y="356"/>
                  </a:lnTo>
                  <a:lnTo>
                    <a:pt x="118" y="356"/>
                  </a:lnTo>
                  <a:lnTo>
                    <a:pt x="95" y="356"/>
                  </a:lnTo>
                  <a:lnTo>
                    <a:pt x="95" y="356"/>
                  </a:lnTo>
                  <a:lnTo>
                    <a:pt x="0" y="356"/>
                  </a:lnTo>
                  <a:lnTo>
                    <a:pt x="0" y="356"/>
                  </a:lnTo>
                  <a:lnTo>
                    <a:pt x="0" y="379"/>
                  </a:lnTo>
                  <a:lnTo>
                    <a:pt x="0" y="379"/>
                  </a:lnTo>
                  <a:lnTo>
                    <a:pt x="0" y="391"/>
                  </a:lnTo>
                  <a:lnTo>
                    <a:pt x="0" y="391"/>
                  </a:lnTo>
                  <a:lnTo>
                    <a:pt x="0" y="415"/>
                  </a:lnTo>
                  <a:lnTo>
                    <a:pt x="0" y="415"/>
                  </a:lnTo>
                  <a:lnTo>
                    <a:pt x="0" y="429"/>
                  </a:lnTo>
                  <a:lnTo>
                    <a:pt x="0" y="429"/>
                  </a:lnTo>
                  <a:lnTo>
                    <a:pt x="0" y="452"/>
                  </a:lnTo>
                  <a:lnTo>
                    <a:pt x="0" y="452"/>
                  </a:lnTo>
                  <a:lnTo>
                    <a:pt x="0" y="476"/>
                  </a:lnTo>
                  <a:lnTo>
                    <a:pt x="0" y="476"/>
                  </a:lnTo>
                  <a:lnTo>
                    <a:pt x="12" y="476"/>
                  </a:lnTo>
                  <a:lnTo>
                    <a:pt x="12" y="476"/>
                  </a:lnTo>
                  <a:lnTo>
                    <a:pt x="36" y="476"/>
                  </a:lnTo>
                  <a:lnTo>
                    <a:pt x="36" y="476"/>
                  </a:lnTo>
                  <a:lnTo>
                    <a:pt x="83" y="476"/>
                  </a:lnTo>
                  <a:lnTo>
                    <a:pt x="83" y="476"/>
                  </a:lnTo>
                  <a:lnTo>
                    <a:pt x="106" y="476"/>
                  </a:lnTo>
                  <a:lnTo>
                    <a:pt x="106" y="476"/>
                  </a:lnTo>
                  <a:lnTo>
                    <a:pt x="118" y="476"/>
                  </a:lnTo>
                  <a:lnTo>
                    <a:pt x="118" y="476"/>
                  </a:lnTo>
                  <a:lnTo>
                    <a:pt x="142" y="476"/>
                  </a:lnTo>
                  <a:lnTo>
                    <a:pt x="142" y="476"/>
                  </a:lnTo>
                  <a:lnTo>
                    <a:pt x="165" y="476"/>
                  </a:lnTo>
                  <a:lnTo>
                    <a:pt x="165" y="476"/>
                  </a:lnTo>
                  <a:lnTo>
                    <a:pt x="179" y="476"/>
                  </a:lnTo>
                  <a:lnTo>
                    <a:pt x="179" y="476"/>
                  </a:lnTo>
                  <a:lnTo>
                    <a:pt x="203" y="476"/>
                  </a:lnTo>
                  <a:lnTo>
                    <a:pt x="203" y="476"/>
                  </a:lnTo>
                  <a:lnTo>
                    <a:pt x="215" y="476"/>
                  </a:lnTo>
                  <a:lnTo>
                    <a:pt x="215" y="476"/>
                  </a:lnTo>
                  <a:lnTo>
                    <a:pt x="238" y="476"/>
                  </a:lnTo>
                  <a:lnTo>
                    <a:pt x="238" y="476"/>
                  </a:lnTo>
                  <a:lnTo>
                    <a:pt x="250" y="476"/>
                  </a:lnTo>
                  <a:lnTo>
                    <a:pt x="250" y="476"/>
                  </a:lnTo>
                  <a:lnTo>
                    <a:pt x="274" y="476"/>
                  </a:lnTo>
                  <a:lnTo>
                    <a:pt x="274" y="476"/>
                  </a:lnTo>
                  <a:lnTo>
                    <a:pt x="285" y="476"/>
                  </a:lnTo>
                  <a:lnTo>
                    <a:pt x="285" y="476"/>
                  </a:lnTo>
                  <a:lnTo>
                    <a:pt x="309" y="476"/>
                  </a:lnTo>
                  <a:lnTo>
                    <a:pt x="309" y="476"/>
                  </a:lnTo>
                  <a:lnTo>
                    <a:pt x="321" y="476"/>
                  </a:lnTo>
                  <a:lnTo>
                    <a:pt x="321" y="476"/>
                  </a:lnTo>
                  <a:lnTo>
                    <a:pt x="344" y="476"/>
                  </a:lnTo>
                  <a:lnTo>
                    <a:pt x="344" y="476"/>
                  </a:lnTo>
                  <a:lnTo>
                    <a:pt x="356" y="476"/>
                  </a:lnTo>
                  <a:lnTo>
                    <a:pt x="356" y="476"/>
                  </a:lnTo>
                  <a:lnTo>
                    <a:pt x="380" y="476"/>
                  </a:lnTo>
                  <a:lnTo>
                    <a:pt x="380" y="476"/>
                  </a:lnTo>
                  <a:lnTo>
                    <a:pt x="391" y="476"/>
                  </a:lnTo>
                  <a:lnTo>
                    <a:pt x="391" y="476"/>
                  </a:lnTo>
                  <a:lnTo>
                    <a:pt x="441" y="476"/>
                  </a:lnTo>
                  <a:lnTo>
                    <a:pt x="441" y="476"/>
                  </a:lnTo>
                  <a:lnTo>
                    <a:pt x="453" y="476"/>
                  </a:lnTo>
                  <a:lnTo>
                    <a:pt x="453" y="476"/>
                  </a:lnTo>
                  <a:lnTo>
                    <a:pt x="476" y="476"/>
                  </a:lnTo>
                  <a:lnTo>
                    <a:pt x="476" y="476"/>
                  </a:lnTo>
                  <a:lnTo>
                    <a:pt x="488" y="476"/>
                  </a:lnTo>
                  <a:lnTo>
                    <a:pt x="488" y="476"/>
                  </a:lnTo>
                  <a:lnTo>
                    <a:pt x="512" y="476"/>
                  </a:lnTo>
                  <a:lnTo>
                    <a:pt x="512" y="476"/>
                  </a:lnTo>
                  <a:lnTo>
                    <a:pt x="523" y="476"/>
                  </a:lnTo>
                  <a:lnTo>
                    <a:pt x="523" y="476"/>
                  </a:lnTo>
                  <a:lnTo>
                    <a:pt x="547" y="476"/>
                  </a:lnTo>
                  <a:lnTo>
                    <a:pt x="547" y="476"/>
                  </a:lnTo>
                  <a:lnTo>
                    <a:pt x="559" y="476"/>
                  </a:lnTo>
                  <a:lnTo>
                    <a:pt x="559" y="476"/>
                  </a:lnTo>
                  <a:lnTo>
                    <a:pt x="582" y="476"/>
                  </a:lnTo>
                  <a:lnTo>
                    <a:pt x="582" y="476"/>
                  </a:lnTo>
                  <a:lnTo>
                    <a:pt x="594" y="476"/>
                  </a:lnTo>
                  <a:lnTo>
                    <a:pt x="594" y="476"/>
                  </a:lnTo>
                  <a:lnTo>
                    <a:pt x="618" y="476"/>
                  </a:lnTo>
                  <a:lnTo>
                    <a:pt x="618" y="476"/>
                  </a:lnTo>
                  <a:lnTo>
                    <a:pt x="629" y="476"/>
                  </a:lnTo>
                  <a:lnTo>
                    <a:pt x="629" y="476"/>
                  </a:lnTo>
                  <a:lnTo>
                    <a:pt x="653" y="476"/>
                  </a:lnTo>
                  <a:lnTo>
                    <a:pt x="653" y="476"/>
                  </a:lnTo>
                  <a:lnTo>
                    <a:pt x="667" y="476"/>
                  </a:lnTo>
                  <a:lnTo>
                    <a:pt x="667" y="476"/>
                  </a:lnTo>
                  <a:lnTo>
                    <a:pt x="714" y="476"/>
                  </a:lnTo>
                  <a:lnTo>
                    <a:pt x="714" y="476"/>
                  </a:lnTo>
                  <a:lnTo>
                    <a:pt x="726" y="476"/>
                  </a:lnTo>
                  <a:lnTo>
                    <a:pt x="726" y="476"/>
                  </a:lnTo>
                  <a:lnTo>
                    <a:pt x="750" y="476"/>
                  </a:lnTo>
                  <a:lnTo>
                    <a:pt x="750" y="476"/>
                  </a:lnTo>
                  <a:lnTo>
                    <a:pt x="761" y="476"/>
                  </a:lnTo>
                  <a:lnTo>
                    <a:pt x="761" y="476"/>
                  </a:lnTo>
                  <a:lnTo>
                    <a:pt x="785" y="476"/>
                  </a:lnTo>
                  <a:lnTo>
                    <a:pt x="785" y="476"/>
                  </a:lnTo>
                  <a:lnTo>
                    <a:pt x="797" y="476"/>
                  </a:lnTo>
                  <a:lnTo>
                    <a:pt x="797" y="476"/>
                  </a:lnTo>
                  <a:lnTo>
                    <a:pt x="820" y="476"/>
                  </a:lnTo>
                  <a:lnTo>
                    <a:pt x="820" y="476"/>
                  </a:lnTo>
                  <a:lnTo>
                    <a:pt x="832" y="476"/>
                  </a:lnTo>
                  <a:lnTo>
                    <a:pt x="832" y="476"/>
                  </a:lnTo>
                  <a:lnTo>
                    <a:pt x="856" y="476"/>
                  </a:lnTo>
                  <a:lnTo>
                    <a:pt x="856" y="476"/>
                  </a:lnTo>
                  <a:lnTo>
                    <a:pt x="867" y="476"/>
                  </a:lnTo>
                  <a:lnTo>
                    <a:pt x="867" y="476"/>
                  </a:lnTo>
                  <a:lnTo>
                    <a:pt x="891" y="476"/>
                  </a:lnTo>
                  <a:lnTo>
                    <a:pt x="891" y="476"/>
                  </a:lnTo>
                  <a:lnTo>
                    <a:pt x="903" y="476"/>
                  </a:lnTo>
                  <a:lnTo>
                    <a:pt x="903" y="476"/>
                  </a:lnTo>
                  <a:lnTo>
                    <a:pt x="929" y="476"/>
                  </a:lnTo>
                  <a:lnTo>
                    <a:pt x="929" y="476"/>
                  </a:lnTo>
                  <a:lnTo>
                    <a:pt x="940" y="476"/>
                  </a:lnTo>
                  <a:lnTo>
                    <a:pt x="940" y="476"/>
                  </a:lnTo>
                  <a:lnTo>
                    <a:pt x="988" y="476"/>
                  </a:lnTo>
                  <a:lnTo>
                    <a:pt x="988" y="476"/>
                  </a:lnTo>
                  <a:lnTo>
                    <a:pt x="999" y="476"/>
                  </a:lnTo>
                  <a:lnTo>
                    <a:pt x="999" y="476"/>
                  </a:lnTo>
                  <a:lnTo>
                    <a:pt x="1023" y="476"/>
                  </a:lnTo>
                  <a:lnTo>
                    <a:pt x="1023" y="476"/>
                  </a:lnTo>
                  <a:lnTo>
                    <a:pt x="1035" y="476"/>
                  </a:lnTo>
                  <a:lnTo>
                    <a:pt x="1035" y="476"/>
                  </a:lnTo>
                  <a:lnTo>
                    <a:pt x="1058" y="476"/>
                  </a:lnTo>
                  <a:lnTo>
                    <a:pt x="1058" y="476"/>
                  </a:lnTo>
                  <a:lnTo>
                    <a:pt x="1070" y="476"/>
                  </a:lnTo>
                  <a:lnTo>
                    <a:pt x="1070" y="476"/>
                  </a:lnTo>
                  <a:lnTo>
                    <a:pt x="1094" y="476"/>
                  </a:lnTo>
                  <a:lnTo>
                    <a:pt x="1094" y="476"/>
                  </a:lnTo>
                  <a:lnTo>
                    <a:pt x="1105" y="476"/>
                  </a:lnTo>
                  <a:lnTo>
                    <a:pt x="1105" y="476"/>
                  </a:lnTo>
                  <a:lnTo>
                    <a:pt x="1129" y="476"/>
                  </a:lnTo>
                  <a:lnTo>
                    <a:pt x="1129" y="476"/>
                  </a:lnTo>
                  <a:lnTo>
                    <a:pt x="1141" y="476"/>
                  </a:lnTo>
                  <a:lnTo>
                    <a:pt x="1141" y="476"/>
                  </a:lnTo>
                  <a:lnTo>
                    <a:pt x="1167" y="476"/>
                  </a:lnTo>
                  <a:lnTo>
                    <a:pt x="1167" y="476"/>
                  </a:lnTo>
                  <a:lnTo>
                    <a:pt x="1178" y="476"/>
                  </a:lnTo>
                  <a:lnTo>
                    <a:pt x="1178" y="476"/>
                  </a:lnTo>
                  <a:lnTo>
                    <a:pt x="1202" y="476"/>
                  </a:lnTo>
                  <a:lnTo>
                    <a:pt x="1202" y="476"/>
                  </a:lnTo>
                  <a:lnTo>
                    <a:pt x="1214" y="476"/>
                  </a:lnTo>
                  <a:lnTo>
                    <a:pt x="1214" y="476"/>
                  </a:lnTo>
                  <a:lnTo>
                    <a:pt x="1261" y="476"/>
                  </a:lnTo>
                  <a:lnTo>
                    <a:pt x="1261" y="476"/>
                  </a:lnTo>
                  <a:lnTo>
                    <a:pt x="1273" y="476"/>
                  </a:lnTo>
                  <a:lnTo>
                    <a:pt x="1273" y="476"/>
                  </a:lnTo>
                  <a:lnTo>
                    <a:pt x="1296" y="476"/>
                  </a:lnTo>
                  <a:lnTo>
                    <a:pt x="1296" y="476"/>
                  </a:lnTo>
                  <a:lnTo>
                    <a:pt x="1308" y="476"/>
                  </a:lnTo>
                  <a:lnTo>
                    <a:pt x="1308" y="476"/>
                  </a:lnTo>
                  <a:lnTo>
                    <a:pt x="1332" y="476"/>
                  </a:lnTo>
                  <a:lnTo>
                    <a:pt x="1332" y="476"/>
                  </a:lnTo>
                  <a:lnTo>
                    <a:pt x="1343" y="476"/>
                  </a:lnTo>
                  <a:lnTo>
                    <a:pt x="1343" y="476"/>
                  </a:lnTo>
                  <a:lnTo>
                    <a:pt x="1367" y="476"/>
                  </a:lnTo>
                  <a:lnTo>
                    <a:pt x="1367" y="476"/>
                  </a:lnTo>
                  <a:lnTo>
                    <a:pt x="1379" y="476"/>
                  </a:lnTo>
                  <a:lnTo>
                    <a:pt x="1379" y="476"/>
                  </a:lnTo>
                  <a:lnTo>
                    <a:pt x="1405" y="476"/>
                  </a:lnTo>
                  <a:lnTo>
                    <a:pt x="1405" y="476"/>
                  </a:lnTo>
                  <a:lnTo>
                    <a:pt x="1416" y="476"/>
                  </a:lnTo>
                  <a:lnTo>
                    <a:pt x="1416" y="476"/>
                  </a:lnTo>
                  <a:lnTo>
                    <a:pt x="1440" y="476"/>
                  </a:lnTo>
                  <a:lnTo>
                    <a:pt x="1440" y="476"/>
                  </a:lnTo>
                  <a:lnTo>
                    <a:pt x="1452" y="476"/>
                  </a:lnTo>
                  <a:lnTo>
                    <a:pt x="1452" y="476"/>
                  </a:lnTo>
                  <a:lnTo>
                    <a:pt x="1475" y="476"/>
                  </a:lnTo>
                  <a:lnTo>
                    <a:pt x="1475" y="476"/>
                  </a:lnTo>
                  <a:lnTo>
                    <a:pt x="1487" y="476"/>
                  </a:lnTo>
                  <a:lnTo>
                    <a:pt x="1487" y="476"/>
                  </a:lnTo>
                  <a:lnTo>
                    <a:pt x="1534" y="476"/>
                  </a:lnTo>
                  <a:lnTo>
                    <a:pt x="1534" y="476"/>
                  </a:lnTo>
                  <a:lnTo>
                    <a:pt x="1546" y="476"/>
                  </a:lnTo>
                  <a:lnTo>
                    <a:pt x="1546" y="476"/>
                  </a:lnTo>
                  <a:lnTo>
                    <a:pt x="1570" y="476"/>
                  </a:lnTo>
                  <a:lnTo>
                    <a:pt x="1570" y="476"/>
                  </a:lnTo>
                  <a:lnTo>
                    <a:pt x="1581" y="476"/>
                  </a:lnTo>
                  <a:lnTo>
                    <a:pt x="1581" y="476"/>
                  </a:lnTo>
                  <a:lnTo>
                    <a:pt x="1605" y="476"/>
                  </a:lnTo>
                  <a:lnTo>
                    <a:pt x="1605" y="476"/>
                  </a:lnTo>
                  <a:lnTo>
                    <a:pt x="1617" y="476"/>
                  </a:lnTo>
                  <a:lnTo>
                    <a:pt x="1617" y="476"/>
                  </a:lnTo>
                  <a:lnTo>
                    <a:pt x="1643" y="476"/>
                  </a:lnTo>
                  <a:lnTo>
                    <a:pt x="1643" y="476"/>
                  </a:lnTo>
                  <a:lnTo>
                    <a:pt x="1654" y="476"/>
                  </a:lnTo>
                  <a:lnTo>
                    <a:pt x="1654" y="476"/>
                  </a:lnTo>
                  <a:lnTo>
                    <a:pt x="1678" y="476"/>
                  </a:lnTo>
                  <a:lnTo>
                    <a:pt x="1678" y="476"/>
                  </a:lnTo>
                  <a:lnTo>
                    <a:pt x="1690" y="476"/>
                  </a:lnTo>
                  <a:lnTo>
                    <a:pt x="1690" y="476"/>
                  </a:lnTo>
                  <a:lnTo>
                    <a:pt x="1713" y="476"/>
                  </a:lnTo>
                  <a:lnTo>
                    <a:pt x="1713" y="476"/>
                  </a:lnTo>
                  <a:lnTo>
                    <a:pt x="1725" y="476"/>
                  </a:lnTo>
                  <a:lnTo>
                    <a:pt x="1725" y="476"/>
                  </a:lnTo>
                  <a:lnTo>
                    <a:pt x="1749" y="476"/>
                  </a:lnTo>
                  <a:lnTo>
                    <a:pt x="1749" y="476"/>
                  </a:lnTo>
                  <a:lnTo>
                    <a:pt x="1760" y="476"/>
                  </a:lnTo>
                  <a:lnTo>
                    <a:pt x="1760" y="476"/>
                  </a:lnTo>
                  <a:lnTo>
                    <a:pt x="1808" y="476"/>
                  </a:lnTo>
                  <a:lnTo>
                    <a:pt x="1808" y="476"/>
                  </a:lnTo>
                  <a:lnTo>
                    <a:pt x="1819" y="476"/>
                  </a:lnTo>
                  <a:lnTo>
                    <a:pt x="1819" y="476"/>
                  </a:lnTo>
                  <a:lnTo>
                    <a:pt x="1843" y="476"/>
                  </a:lnTo>
                  <a:lnTo>
                    <a:pt x="1843" y="476"/>
                  </a:lnTo>
                  <a:lnTo>
                    <a:pt x="1855" y="476"/>
                  </a:lnTo>
                  <a:lnTo>
                    <a:pt x="1855" y="476"/>
                  </a:lnTo>
                  <a:lnTo>
                    <a:pt x="1878" y="476"/>
                  </a:lnTo>
                  <a:lnTo>
                    <a:pt x="1878" y="476"/>
                  </a:lnTo>
                  <a:lnTo>
                    <a:pt x="1892" y="476"/>
                  </a:lnTo>
                  <a:lnTo>
                    <a:pt x="1892" y="476"/>
                  </a:lnTo>
                  <a:lnTo>
                    <a:pt x="1916" y="476"/>
                  </a:lnTo>
                  <a:lnTo>
                    <a:pt x="1916" y="476"/>
                  </a:lnTo>
                  <a:lnTo>
                    <a:pt x="1928" y="476"/>
                  </a:lnTo>
                  <a:lnTo>
                    <a:pt x="1928" y="476"/>
                  </a:lnTo>
                  <a:lnTo>
                    <a:pt x="1951" y="476"/>
                  </a:lnTo>
                  <a:lnTo>
                    <a:pt x="1951" y="476"/>
                  </a:lnTo>
                  <a:lnTo>
                    <a:pt x="1963" y="476"/>
                  </a:lnTo>
                  <a:lnTo>
                    <a:pt x="1963" y="476"/>
                  </a:lnTo>
                  <a:lnTo>
                    <a:pt x="1987" y="476"/>
                  </a:lnTo>
                  <a:lnTo>
                    <a:pt x="1987" y="476"/>
                  </a:lnTo>
                  <a:lnTo>
                    <a:pt x="1998" y="476"/>
                  </a:lnTo>
                  <a:lnTo>
                    <a:pt x="1998" y="476"/>
                  </a:lnTo>
                  <a:lnTo>
                    <a:pt x="2022" y="476"/>
                  </a:lnTo>
                  <a:lnTo>
                    <a:pt x="2022" y="476"/>
                  </a:lnTo>
                  <a:lnTo>
                    <a:pt x="2034" y="476"/>
                  </a:lnTo>
                  <a:lnTo>
                    <a:pt x="2034" y="476"/>
                  </a:lnTo>
                  <a:lnTo>
                    <a:pt x="2081" y="476"/>
                  </a:lnTo>
                  <a:lnTo>
                    <a:pt x="2081" y="476"/>
                  </a:lnTo>
                  <a:lnTo>
                    <a:pt x="2093" y="476"/>
                  </a:lnTo>
                  <a:lnTo>
                    <a:pt x="2093" y="476"/>
                  </a:lnTo>
                  <a:lnTo>
                    <a:pt x="2116" y="476"/>
                  </a:lnTo>
                  <a:lnTo>
                    <a:pt x="2116" y="476"/>
                  </a:lnTo>
                  <a:lnTo>
                    <a:pt x="2130" y="476"/>
                  </a:lnTo>
                  <a:lnTo>
                    <a:pt x="2130" y="476"/>
                  </a:lnTo>
                  <a:lnTo>
                    <a:pt x="2154" y="476"/>
                  </a:lnTo>
                  <a:lnTo>
                    <a:pt x="2154" y="476"/>
                  </a:lnTo>
                  <a:lnTo>
                    <a:pt x="2166" y="476"/>
                  </a:lnTo>
                  <a:lnTo>
                    <a:pt x="2166" y="476"/>
                  </a:lnTo>
                  <a:lnTo>
                    <a:pt x="2189" y="476"/>
                  </a:lnTo>
                  <a:lnTo>
                    <a:pt x="2189" y="476"/>
                  </a:lnTo>
                  <a:lnTo>
                    <a:pt x="2201" y="476"/>
                  </a:lnTo>
                  <a:lnTo>
                    <a:pt x="2201" y="476"/>
                  </a:lnTo>
                  <a:lnTo>
                    <a:pt x="2225" y="476"/>
                  </a:lnTo>
                  <a:lnTo>
                    <a:pt x="2225" y="476"/>
                  </a:lnTo>
                  <a:lnTo>
                    <a:pt x="2236" y="476"/>
                  </a:lnTo>
                  <a:lnTo>
                    <a:pt x="2236" y="476"/>
                  </a:lnTo>
                  <a:lnTo>
                    <a:pt x="2260" y="476"/>
                  </a:lnTo>
                  <a:lnTo>
                    <a:pt x="2260" y="476"/>
                  </a:lnTo>
                  <a:lnTo>
                    <a:pt x="2272" y="476"/>
                  </a:lnTo>
                  <a:lnTo>
                    <a:pt x="2272" y="476"/>
                  </a:lnTo>
                  <a:lnTo>
                    <a:pt x="2295" y="476"/>
                  </a:lnTo>
                  <a:lnTo>
                    <a:pt x="2295" y="476"/>
                  </a:lnTo>
                  <a:lnTo>
                    <a:pt x="2307" y="476"/>
                  </a:lnTo>
                  <a:lnTo>
                    <a:pt x="2307" y="476"/>
                  </a:lnTo>
                  <a:lnTo>
                    <a:pt x="2331" y="476"/>
                  </a:lnTo>
                  <a:lnTo>
                    <a:pt x="2331" y="22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0" name="Group 19"/>
          <p:cNvGrpSpPr/>
          <p:nvPr/>
        </p:nvGrpSpPr>
        <p:grpSpPr>
          <a:xfrm>
            <a:off x="7328298" y="1180879"/>
            <a:ext cx="4071222" cy="4543018"/>
            <a:chOff x="1370180" y="1037677"/>
            <a:chExt cx="3449632" cy="3849394"/>
          </a:xfrm>
        </p:grpSpPr>
        <p:sp>
          <p:nvSpPr>
            <p:cNvPr id="22" name="Oval 21"/>
            <p:cNvSpPr/>
            <p:nvPr/>
          </p:nvSpPr>
          <p:spPr bwMode="gray">
            <a:xfrm>
              <a:off x="1370180" y="1037677"/>
              <a:ext cx="3100381" cy="3100375"/>
            </a:xfrm>
            <a:prstGeom prst="ellipse">
              <a:avLst/>
            </a:prstGeom>
            <a:solidFill>
              <a:schemeClr val="bg1">
                <a:alpha val="25000"/>
              </a:schemeClr>
            </a:solidFill>
            <a:ln w="6350">
              <a:noFill/>
              <a:headEnd/>
              <a:tailEnd/>
            </a:ln>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300" b="1" dirty="0">
                <a:solidFill>
                  <a:schemeClr val="tx1">
                    <a:lumMod val="65000"/>
                    <a:lumOff val="35000"/>
                  </a:schemeClr>
                </a:solidFill>
                <a:latin typeface="Calibri" charset="0"/>
                <a:ea typeface="ＭＳ Ｐゴシック" charset="-128"/>
              </a:endParaRPr>
            </a:p>
          </p:txBody>
        </p:sp>
        <p:sp>
          <p:nvSpPr>
            <p:cNvPr id="23" name="Oval 22"/>
            <p:cNvSpPr/>
            <p:nvPr/>
          </p:nvSpPr>
          <p:spPr>
            <a:xfrm>
              <a:off x="1642837" y="2144892"/>
              <a:ext cx="3176975" cy="2742179"/>
            </a:xfrm>
            <a:prstGeom prst="ellipse">
              <a:avLst/>
            </a:prstGeom>
            <a:gradFill flip="none" rotWithShape="1">
              <a:gsLst>
                <a:gs pos="0">
                  <a:schemeClr val="tx2">
                    <a:lumMod val="75000"/>
                  </a:schemeClr>
                </a:gs>
                <a:gs pos="100000">
                  <a:schemeClr val="tx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
          <p:nvSpPr>
            <p:cNvPr id="24" name="Oval 23"/>
            <p:cNvSpPr/>
            <p:nvPr/>
          </p:nvSpPr>
          <p:spPr bwMode="gray">
            <a:xfrm>
              <a:off x="1639225" y="1306724"/>
              <a:ext cx="2562297" cy="2562293"/>
            </a:xfrm>
            <a:prstGeom prst="ellipse">
              <a:avLst/>
            </a:prstGeom>
            <a:solidFill>
              <a:schemeClr val="bg1"/>
            </a:solidFill>
            <a:ln w="6350">
              <a:noFill/>
              <a:headEnd/>
              <a:tailEnd/>
            </a:ln>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300" b="1" dirty="0">
                <a:solidFill>
                  <a:schemeClr val="tx1">
                    <a:lumMod val="65000"/>
                    <a:lumOff val="35000"/>
                  </a:schemeClr>
                </a:solidFill>
                <a:latin typeface="Calibri" charset="0"/>
                <a:ea typeface="ＭＳ Ｐゴシック" charset="-128"/>
              </a:endParaRPr>
            </a:p>
          </p:txBody>
        </p:sp>
      </p:grpSp>
      <p:sp>
        <p:nvSpPr>
          <p:cNvPr id="6" name="Slide Number Placeholder 5"/>
          <p:cNvSpPr>
            <a:spLocks noGrp="1"/>
          </p:cNvSpPr>
          <p:nvPr>
            <p:ph type="sldNum" sz="quarter" idx="12"/>
          </p:nvPr>
        </p:nvSpPr>
        <p:spPr/>
        <p:txBody>
          <a:bodyPr/>
          <a:lstStyle/>
          <a:p>
            <a:fld id="{41DAFBFA-C652-4E4B-AC31-FEFC406FA02E}" type="slidenum">
              <a:rPr lang="en-US" smtClean="0"/>
              <a:pPr/>
              <a:t>4</a:t>
            </a:fld>
            <a:endParaRPr lang="en-US" dirty="0"/>
          </a:p>
        </p:txBody>
      </p:sp>
      <p:pic>
        <p:nvPicPr>
          <p:cNvPr id="8" name="Picture Placeholder 7">
            <a:extLst>
              <a:ext uri="{FF2B5EF4-FFF2-40B4-BE49-F238E27FC236}">
                <a16:creationId xmlns:a16="http://schemas.microsoft.com/office/drawing/2014/main" id="{B5D57720-BAF1-F142-B30C-B86A9FC42727}"/>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tretch>
            <a:fillRect/>
          </a:stretch>
        </p:blipFill>
        <p:spPr>
          <a:xfrm>
            <a:off x="7923508" y="1945058"/>
            <a:ext cx="2718896" cy="2087053"/>
          </a:xfrm>
          <a:solidFill>
            <a:schemeClr val="bg1">
              <a:lumMod val="85000"/>
            </a:schemeClr>
          </a:solidFill>
        </p:spPr>
      </p:pic>
    </p:spTree>
    <p:extLst>
      <p:ext uri="{BB962C8B-B14F-4D97-AF65-F5344CB8AC3E}">
        <p14:creationId xmlns:p14="http://schemas.microsoft.com/office/powerpoint/2010/main" val="16624864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902F39D-15F9-104B-A1D1-EAF26016A83B}"/>
              </a:ext>
            </a:extLst>
          </p:cNvPr>
          <p:cNvSpPr>
            <a:spLocks noGrp="1"/>
          </p:cNvSpPr>
          <p:nvPr>
            <p:ph type="sldNum" sz="quarter" idx="12"/>
          </p:nvPr>
        </p:nvSpPr>
        <p:spPr/>
        <p:txBody>
          <a:bodyPr/>
          <a:lstStyle/>
          <a:p>
            <a:fld id="{41DAFBFA-C652-4E4B-AC31-FEFC406FA02E}" type="slidenum">
              <a:rPr lang="en-US" smtClean="0"/>
              <a:pPr/>
              <a:t>5</a:t>
            </a:fld>
            <a:endParaRPr lang="en-US" dirty="0"/>
          </a:p>
        </p:txBody>
      </p:sp>
      <p:pic>
        <p:nvPicPr>
          <p:cNvPr id="9" name="Picture Placeholder 8">
            <a:extLst>
              <a:ext uri="{FF2B5EF4-FFF2-40B4-BE49-F238E27FC236}">
                <a16:creationId xmlns:a16="http://schemas.microsoft.com/office/drawing/2014/main" id="{8D292263-C97C-9A40-AD41-5432DF74BFF6}"/>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36113" r="36113"/>
          <a:stretch>
            <a:fillRect/>
          </a:stretch>
        </p:blipFill>
        <p:spPr>
          <a:xfrm>
            <a:off x="7872841" y="1547710"/>
            <a:ext cx="2718896" cy="2718894"/>
          </a:xfrm>
        </p:spPr>
      </p:pic>
      <p:sp>
        <p:nvSpPr>
          <p:cNvPr id="4" name="Rectangle 3">
            <a:extLst>
              <a:ext uri="{FF2B5EF4-FFF2-40B4-BE49-F238E27FC236}">
                <a16:creationId xmlns:a16="http://schemas.microsoft.com/office/drawing/2014/main" id="{41A44731-E94B-684F-9C63-035C4FA46CEF}"/>
              </a:ext>
            </a:extLst>
          </p:cNvPr>
          <p:cNvSpPr/>
          <p:nvPr/>
        </p:nvSpPr>
        <p:spPr>
          <a:xfrm>
            <a:off x="425859" y="521429"/>
            <a:ext cx="5378042" cy="584775"/>
          </a:xfrm>
          <a:prstGeom prst="rect">
            <a:avLst/>
          </a:prstGeom>
        </p:spPr>
        <p:txBody>
          <a:bodyPr vert="horz" lIns="91440" tIns="45720" rIns="91440" bIns="45720" rtlCol="0" anchor="ctr">
            <a:noAutofit/>
          </a:bodyPr>
          <a:lstStyle/>
          <a:p>
            <a:pPr>
              <a:spcBef>
                <a:spcPct val="0"/>
              </a:spcBef>
            </a:pPr>
            <a:r>
              <a:rPr lang="en-US" sz="3600" b="1" spc="-150" noProof="1">
                <a:solidFill>
                  <a:schemeClr val="bg1"/>
                </a:solidFill>
                <a:latin typeface="Roboto" panose="02000000000000000000" pitchFamily="2" charset="0"/>
                <a:ea typeface="Roboto" panose="02000000000000000000" pitchFamily="2" charset="0"/>
                <a:cs typeface="Open Sans Light" panose="020B0306030504020204" pitchFamily="34" charset="0"/>
              </a:rPr>
              <a:t>VISION</a:t>
            </a:r>
          </a:p>
        </p:txBody>
      </p:sp>
      <p:sp>
        <p:nvSpPr>
          <p:cNvPr id="5" name="Rectangle 4">
            <a:extLst>
              <a:ext uri="{FF2B5EF4-FFF2-40B4-BE49-F238E27FC236}">
                <a16:creationId xmlns:a16="http://schemas.microsoft.com/office/drawing/2014/main" id="{59755B9C-85D3-C340-9EE7-989B443DD9C2}"/>
              </a:ext>
            </a:extLst>
          </p:cNvPr>
          <p:cNvSpPr/>
          <p:nvPr/>
        </p:nvSpPr>
        <p:spPr>
          <a:xfrm>
            <a:off x="625434" y="1646631"/>
            <a:ext cx="6096000" cy="3785652"/>
          </a:xfrm>
          <a:prstGeom prst="rect">
            <a:avLst/>
          </a:prstGeom>
        </p:spPr>
        <p:txBody>
          <a:bodyPr>
            <a:spAutoFit/>
          </a:bodyPr>
          <a:lstStyle/>
          <a:p>
            <a:r>
              <a:rPr lang="en-US" sz="2000" dirty="0"/>
              <a:t>Develop a user-friendly interactive application to provide insights.</a:t>
            </a:r>
          </a:p>
          <a:p>
            <a:r>
              <a:rPr lang="en-US" sz="2000" dirty="0"/>
              <a:t>Predict future score and the danger for a particular restaurant using supervised learning. Provide an application that extracts more meaning information providing easy decision making to the user.</a:t>
            </a:r>
          </a:p>
          <a:p>
            <a:endParaRPr lang="en-US" sz="2000" dirty="0"/>
          </a:p>
          <a:p>
            <a:r>
              <a:rPr lang="en-US" sz="2000" dirty="0"/>
              <a:t>Data source and acquisition:</a:t>
            </a:r>
          </a:p>
          <a:p>
            <a:r>
              <a:rPr lang="en-US" sz="2000" dirty="0"/>
              <a:t>The data used in the application was made available and updated on 1/21/2019 by DOHMH</a:t>
            </a:r>
          </a:p>
          <a:p>
            <a:r>
              <a:rPr lang="en-US" sz="2000" dirty="0"/>
              <a:t>Inspections Results  dataset</a:t>
            </a:r>
          </a:p>
          <a:p>
            <a:r>
              <a:rPr lang="en-US" sz="2000" dirty="0"/>
              <a:t>2010-2017.</a:t>
            </a:r>
          </a:p>
        </p:txBody>
      </p:sp>
    </p:spTree>
    <p:extLst>
      <p:ext uri="{BB962C8B-B14F-4D97-AF65-F5344CB8AC3E}">
        <p14:creationId xmlns:p14="http://schemas.microsoft.com/office/powerpoint/2010/main" val="87717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71D293E-0806-1744-A32A-900AAD217E44}"/>
              </a:ext>
            </a:extLst>
          </p:cNvPr>
          <p:cNvSpPr>
            <a:spLocks noGrp="1"/>
          </p:cNvSpPr>
          <p:nvPr>
            <p:ph type="sldNum" sz="quarter" idx="12"/>
          </p:nvPr>
        </p:nvSpPr>
        <p:spPr/>
        <p:txBody>
          <a:bodyPr/>
          <a:lstStyle/>
          <a:p>
            <a:fld id="{41DAFBFA-C652-4E4B-AC31-FEFC406FA02E}" type="slidenum">
              <a:rPr lang="en-US" smtClean="0"/>
              <a:pPr/>
              <a:t>6</a:t>
            </a:fld>
            <a:endParaRPr lang="en-US" dirty="0"/>
          </a:p>
        </p:txBody>
      </p:sp>
      <p:pic>
        <p:nvPicPr>
          <p:cNvPr id="6" name="Picture Placeholder 5">
            <a:extLst>
              <a:ext uri="{FF2B5EF4-FFF2-40B4-BE49-F238E27FC236}">
                <a16:creationId xmlns:a16="http://schemas.microsoft.com/office/drawing/2014/main" id="{57073E2D-ED28-F543-A921-CABE1CC6FAA7}"/>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1592" r="21592"/>
          <a:stretch>
            <a:fillRect/>
          </a:stretch>
        </p:blipFill>
        <p:spPr/>
      </p:pic>
      <p:sp>
        <p:nvSpPr>
          <p:cNvPr id="4" name="Rectangle 3">
            <a:extLst>
              <a:ext uri="{FF2B5EF4-FFF2-40B4-BE49-F238E27FC236}">
                <a16:creationId xmlns:a16="http://schemas.microsoft.com/office/drawing/2014/main" id="{6FD0E769-600C-6B46-B512-89EA9E757BEC}"/>
              </a:ext>
            </a:extLst>
          </p:cNvPr>
          <p:cNvSpPr/>
          <p:nvPr/>
        </p:nvSpPr>
        <p:spPr>
          <a:xfrm>
            <a:off x="518556" y="802711"/>
            <a:ext cx="6096000" cy="5539978"/>
          </a:xfrm>
          <a:prstGeom prst="rect">
            <a:avLst/>
          </a:prstGeom>
        </p:spPr>
        <p:txBody>
          <a:bodyPr>
            <a:spAutoFit/>
          </a:bodyPr>
          <a:lstStyle/>
          <a:p>
            <a:r>
              <a:rPr lang="en-US" sz="2400" dirty="0"/>
              <a:t>Feature Engineering </a:t>
            </a:r>
          </a:p>
          <a:p>
            <a:r>
              <a:rPr lang="en-US" sz="2400" dirty="0"/>
              <a:t>When the Department visit a restaurant, a score is given, we will call this score Vi.</a:t>
            </a:r>
          </a:p>
          <a:p>
            <a:r>
              <a:rPr lang="en-US" sz="2400" dirty="0"/>
              <a:t>V1 is the score at the first visit</a:t>
            </a:r>
          </a:p>
          <a:p>
            <a:r>
              <a:rPr lang="en-US" sz="2400" dirty="0" err="1"/>
              <a:t>Vn</a:t>
            </a:r>
            <a:r>
              <a:rPr lang="en-US" sz="2400" dirty="0"/>
              <a:t> is the score at the nth visit</a:t>
            </a:r>
          </a:p>
          <a:p>
            <a:endParaRPr lang="en-US" sz="2400" dirty="0"/>
          </a:p>
          <a:p>
            <a:r>
              <a:rPr lang="en-US" sz="2400" dirty="0"/>
              <a:t>Models building </a:t>
            </a:r>
          </a:p>
          <a:p>
            <a:r>
              <a:rPr lang="en-US" sz="2400" dirty="0"/>
              <a:t>Given a particular n, the aim is to predict the score at the n+1 visit: Vn+1 using</a:t>
            </a:r>
          </a:p>
          <a:p>
            <a:r>
              <a:rPr lang="en-US" sz="2400" dirty="0"/>
              <a:t>supervised learning algorithms</a:t>
            </a:r>
          </a:p>
          <a:p>
            <a:endParaRPr lang="en-US" sz="2400" dirty="0"/>
          </a:p>
          <a:p>
            <a:r>
              <a:rPr lang="en-US" sz="2400" dirty="0"/>
              <a:t>Evaluations</a:t>
            </a:r>
          </a:p>
          <a:p>
            <a:endParaRPr lang="en-US" sz="2400" dirty="0"/>
          </a:p>
          <a:p>
            <a:r>
              <a:rPr lang="en-US" sz="2400" dirty="0"/>
              <a:t>  Metrics</a:t>
            </a:r>
          </a:p>
          <a:p>
            <a:endParaRPr lang="en-US" dirty="0"/>
          </a:p>
        </p:txBody>
      </p:sp>
    </p:spTree>
    <p:extLst>
      <p:ext uri="{BB962C8B-B14F-4D97-AF65-F5344CB8AC3E}">
        <p14:creationId xmlns:p14="http://schemas.microsoft.com/office/powerpoint/2010/main" val="6062958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3C3A294-68D4-C74E-B78B-5F3F9DB59A71}"/>
              </a:ext>
            </a:extLst>
          </p:cNvPr>
          <p:cNvSpPr>
            <a:spLocks noGrp="1"/>
          </p:cNvSpPr>
          <p:nvPr>
            <p:ph type="sldNum" sz="quarter" idx="12"/>
          </p:nvPr>
        </p:nvSpPr>
        <p:spPr/>
        <p:txBody>
          <a:bodyPr/>
          <a:lstStyle/>
          <a:p>
            <a:fld id="{41DAFBFA-C652-4E4B-AC31-FEFC406FA02E}" type="slidenum">
              <a:rPr lang="en-US" smtClean="0"/>
              <a:pPr/>
              <a:t>7</a:t>
            </a:fld>
            <a:endParaRPr lang="en-US" dirty="0"/>
          </a:p>
        </p:txBody>
      </p:sp>
      <p:pic>
        <p:nvPicPr>
          <p:cNvPr id="7" name="Picture Placeholder 6">
            <a:extLst>
              <a:ext uri="{FF2B5EF4-FFF2-40B4-BE49-F238E27FC236}">
                <a16:creationId xmlns:a16="http://schemas.microsoft.com/office/drawing/2014/main" id="{CCEE1E4B-0FFB-CA4F-BA23-4A5B9AAC11DF}"/>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34406" r="34406"/>
          <a:stretch>
            <a:fillRect/>
          </a:stretch>
        </p:blipFill>
        <p:spPr/>
      </p:pic>
      <p:sp>
        <p:nvSpPr>
          <p:cNvPr id="4" name="Rectangle 3">
            <a:extLst>
              <a:ext uri="{FF2B5EF4-FFF2-40B4-BE49-F238E27FC236}">
                <a16:creationId xmlns:a16="http://schemas.microsoft.com/office/drawing/2014/main" id="{BEC8CE00-84C6-9B4E-8E90-AD0639AA50BB}"/>
              </a:ext>
            </a:extLst>
          </p:cNvPr>
          <p:cNvSpPr/>
          <p:nvPr/>
        </p:nvSpPr>
        <p:spPr>
          <a:xfrm>
            <a:off x="482929" y="1221939"/>
            <a:ext cx="6096000" cy="4154984"/>
          </a:xfrm>
          <a:prstGeom prst="rect">
            <a:avLst/>
          </a:prstGeom>
        </p:spPr>
        <p:txBody>
          <a:bodyPr>
            <a:spAutoFit/>
          </a:bodyPr>
          <a:lstStyle/>
          <a:p>
            <a:r>
              <a:rPr lang="en-US" sz="2400" dirty="0"/>
              <a:t>An interactive application providing users metrics on restaurants </a:t>
            </a:r>
          </a:p>
          <a:p>
            <a:r>
              <a:rPr lang="en-US" sz="2400" dirty="0"/>
              <a:t>It is possible to go on </a:t>
            </a:r>
            <a:r>
              <a:rPr lang="en-US" sz="2400" dirty="0" err="1"/>
              <a:t>RestauAnalytics</a:t>
            </a:r>
            <a:r>
              <a:rPr lang="en-US" sz="2400" dirty="0"/>
              <a:t> and search a restaurant by grades and score and other characteristics and retrieve their address and phone numbers Beside transparency, </a:t>
            </a:r>
            <a:r>
              <a:rPr lang="en-US" sz="2400" dirty="0" err="1"/>
              <a:t>RestauAnalytics</a:t>
            </a:r>
            <a:r>
              <a:rPr lang="en-US" sz="2400" dirty="0"/>
              <a:t> will predict the probability of getting food poisoning at a particular restaurant in NYC. Predictions of future violations scores using supervised learning algorithms:  Regression, SVM, Random Forest.</a:t>
            </a:r>
          </a:p>
        </p:txBody>
      </p:sp>
      <p:sp>
        <p:nvSpPr>
          <p:cNvPr id="5" name="Rectangle 4">
            <a:extLst>
              <a:ext uri="{FF2B5EF4-FFF2-40B4-BE49-F238E27FC236}">
                <a16:creationId xmlns:a16="http://schemas.microsoft.com/office/drawing/2014/main" id="{CF50F8F8-E9E3-404D-AC9C-A5ABF9F7CA43}"/>
              </a:ext>
            </a:extLst>
          </p:cNvPr>
          <p:cNvSpPr/>
          <p:nvPr/>
        </p:nvSpPr>
        <p:spPr>
          <a:xfrm>
            <a:off x="425859" y="521429"/>
            <a:ext cx="5378042" cy="584775"/>
          </a:xfrm>
          <a:prstGeom prst="rect">
            <a:avLst/>
          </a:prstGeom>
        </p:spPr>
        <p:txBody>
          <a:bodyPr vert="horz" lIns="91440" tIns="45720" rIns="91440" bIns="45720" rtlCol="0" anchor="ctr">
            <a:noAutofit/>
          </a:bodyPr>
          <a:lstStyle/>
          <a:p>
            <a:pPr>
              <a:spcBef>
                <a:spcPct val="0"/>
              </a:spcBef>
            </a:pPr>
            <a:r>
              <a:rPr lang="en-US" sz="3600" b="1" spc="-150" noProof="1">
                <a:solidFill>
                  <a:schemeClr val="bg1"/>
                </a:solidFill>
                <a:latin typeface="Roboto" panose="02000000000000000000" pitchFamily="2" charset="0"/>
                <a:ea typeface="Roboto" panose="02000000000000000000" pitchFamily="2" charset="0"/>
                <a:cs typeface="Open Sans Light" panose="020B0306030504020204" pitchFamily="34" charset="0"/>
              </a:rPr>
              <a:t>OUTCOME</a:t>
            </a:r>
          </a:p>
        </p:txBody>
      </p:sp>
    </p:spTree>
    <p:extLst>
      <p:ext uri="{BB962C8B-B14F-4D97-AF65-F5344CB8AC3E}">
        <p14:creationId xmlns:p14="http://schemas.microsoft.com/office/powerpoint/2010/main" val="5761550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sflHcTNQkeBrRQGVB71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UyJE5DNkOuqA83NpY_XA"/>
</p:tagLst>
</file>

<file path=ppt/theme/theme1.xml><?xml version="1.0" encoding="utf-8"?>
<a:theme xmlns:a="http://schemas.openxmlformats.org/drawingml/2006/main" name="Office Theme">
  <a:themeElements>
    <a:clrScheme name="Custom 139">
      <a:dk1>
        <a:sysClr val="windowText" lastClr="000000"/>
      </a:dk1>
      <a:lt1>
        <a:sysClr val="window" lastClr="FFFFFF"/>
      </a:lt1>
      <a:dk2>
        <a:srgbClr val="44546A"/>
      </a:dk2>
      <a:lt2>
        <a:srgbClr val="E7E6E6"/>
      </a:lt2>
      <a:accent1>
        <a:srgbClr val="5FC7CE"/>
      </a:accent1>
      <a:accent2>
        <a:srgbClr val="20AEC2"/>
      </a:accent2>
      <a:accent3>
        <a:srgbClr val="018FB6"/>
      </a:accent3>
      <a:accent4>
        <a:srgbClr val="286191"/>
      </a:accent4>
      <a:accent5>
        <a:srgbClr val="44546A"/>
      </a:accent5>
      <a:accent6>
        <a:srgbClr val="333F50"/>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0290</TotalTime>
  <Words>362</Words>
  <Application>Microsoft Macintosh PowerPoint</Application>
  <PresentationFormat>Widescreen</PresentationFormat>
  <Paragraphs>55</Paragraphs>
  <Slides>7</Slides>
  <Notes>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7</vt:i4>
      </vt:variant>
    </vt:vector>
  </HeadingPairs>
  <TitlesOfParts>
    <vt:vector size="16" baseType="lpstr">
      <vt:lpstr>ＭＳ Ｐゴシック</vt:lpstr>
      <vt:lpstr>Arial</vt:lpstr>
      <vt:lpstr>Calibri</vt:lpstr>
      <vt:lpstr>Calibri Light</vt:lpstr>
      <vt:lpstr>Open Sans</vt:lpstr>
      <vt:lpstr>Open Sans Light</vt:lpstr>
      <vt:lpstr>Roboto</vt:lpstr>
      <vt:lpstr>Source Sans Pro Light</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ng island</dc:creator>
  <cp:lastModifiedBy>dieudonne ouedraogo</cp:lastModifiedBy>
  <cp:revision>1524</cp:revision>
  <dcterms:created xsi:type="dcterms:W3CDTF">2014-10-27T11:58:08Z</dcterms:created>
  <dcterms:modified xsi:type="dcterms:W3CDTF">2019-01-25T18:27:17Z</dcterms:modified>
</cp:coreProperties>
</file>